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0" r:id="rId5"/>
    <p:sldMasterId id="2147483660" r:id="rId6"/>
    <p:sldMasterId id="2147483667" r:id="rId7"/>
  </p:sldMasterIdLst>
  <p:notesMasterIdLst>
    <p:notesMasterId r:id="rId45"/>
  </p:notesMasterIdLst>
  <p:sldIdLst>
    <p:sldId id="256" r:id="rId8"/>
    <p:sldId id="377" r:id="rId9"/>
    <p:sldId id="378" r:id="rId10"/>
    <p:sldId id="379" r:id="rId11"/>
    <p:sldId id="380" r:id="rId12"/>
    <p:sldId id="381" r:id="rId13"/>
    <p:sldId id="394" r:id="rId14"/>
    <p:sldId id="382" r:id="rId15"/>
    <p:sldId id="384" r:id="rId16"/>
    <p:sldId id="387" r:id="rId17"/>
    <p:sldId id="289" r:id="rId18"/>
    <p:sldId id="337" r:id="rId19"/>
    <p:sldId id="385" r:id="rId20"/>
    <p:sldId id="402" r:id="rId21"/>
    <p:sldId id="307" r:id="rId22"/>
    <p:sldId id="315" r:id="rId23"/>
    <p:sldId id="316" r:id="rId24"/>
    <p:sldId id="301" r:id="rId25"/>
    <p:sldId id="400" r:id="rId26"/>
    <p:sldId id="323" r:id="rId27"/>
    <p:sldId id="373" r:id="rId28"/>
    <p:sldId id="325" r:id="rId29"/>
    <p:sldId id="326" r:id="rId30"/>
    <p:sldId id="345" r:id="rId31"/>
    <p:sldId id="346" r:id="rId32"/>
    <p:sldId id="347" r:id="rId33"/>
    <p:sldId id="388" r:id="rId34"/>
    <p:sldId id="396" r:id="rId35"/>
    <p:sldId id="389" r:id="rId36"/>
    <p:sldId id="391" r:id="rId37"/>
    <p:sldId id="395" r:id="rId38"/>
    <p:sldId id="349" r:id="rId39"/>
    <p:sldId id="350" r:id="rId40"/>
    <p:sldId id="352" r:id="rId41"/>
    <p:sldId id="393" r:id="rId42"/>
    <p:sldId id="401" r:id="rId43"/>
    <p:sldId id="397" r:id="rId44"/>
  </p:sldIdLst>
  <p:sldSz cx="9144000" cy="6858000" type="screen4x3"/>
  <p:notesSz cx="6934200" cy="92202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780AE"/>
    <a:srgbClr val="F1AB00"/>
    <a:srgbClr val="A7B1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11" autoAdjust="0"/>
    <p:restoredTop sz="94567" autoAdjust="0"/>
  </p:normalViewPr>
  <p:slideViewPr>
    <p:cSldViewPr snapToGrid="0">
      <p:cViewPr varScale="1">
        <p:scale>
          <a:sx n="48" d="100"/>
          <a:sy n="48" d="100"/>
        </p:scale>
        <p:origin x="1301" y="43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theme" Target="theme/theme1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presProps" Target="presProps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5"/>
    </mc:Choice>
    <mc:Fallback>
      <c:style val="15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9259472"/>
        <c:axId val="79260032"/>
      </c:barChart>
      <c:catAx>
        <c:axId val="792594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lang="es-MX"/>
            </a:pPr>
            <a:endParaRPr lang="es-MX"/>
          </a:p>
        </c:txPr>
        <c:crossAx val="79260032"/>
        <c:crosses val="autoZero"/>
        <c:auto val="1"/>
        <c:lblAlgn val="ctr"/>
        <c:lblOffset val="100"/>
        <c:noMultiLvlLbl val="0"/>
      </c:catAx>
      <c:valAx>
        <c:axId val="792600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s-MX"/>
            </a:pPr>
            <a:endParaRPr lang="es-MX"/>
          </a:p>
        </c:txPr>
        <c:crossAx val="79259472"/>
        <c:crosses val="autoZero"/>
        <c:crossBetween val="between"/>
      </c:valAx>
    </c:plotArea>
    <c:legend>
      <c:legendPos val="r"/>
      <c:overlay val="0"/>
      <c:txPr>
        <a:bodyPr/>
        <a:lstStyle/>
        <a:p>
          <a:pPr>
            <a:defRPr lang="es-MX"/>
          </a:pPr>
          <a:endParaRPr lang="es-MX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5"/>
    </mc:Choice>
    <mc:Fallback>
      <c:style val="15"/>
    </mc:Fallback>
  </mc:AlternateContent>
  <c:chart>
    <c:title>
      <c:overlay val="0"/>
      <c:txPr>
        <a:bodyPr/>
        <a:lstStyle/>
        <a:p>
          <a:pPr>
            <a:defRPr lang="es-MX"/>
          </a:pPr>
          <a:endParaRPr lang="es-MX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79263392"/>
        <c:axId val="79263952"/>
      </c:barChart>
      <c:catAx>
        <c:axId val="792633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lang="es-MX" sz="1200"/>
            </a:pPr>
            <a:endParaRPr lang="es-MX"/>
          </a:p>
        </c:txPr>
        <c:crossAx val="79263952"/>
        <c:crosses val="autoZero"/>
        <c:auto val="1"/>
        <c:lblAlgn val="ctr"/>
        <c:lblOffset val="100"/>
        <c:noMultiLvlLbl val="0"/>
      </c:catAx>
      <c:valAx>
        <c:axId val="79263952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lang="es-MX" sz="1200"/>
            </a:pPr>
            <a:endParaRPr lang="es-MX"/>
          </a:p>
        </c:txPr>
        <c:crossAx val="79263392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lang="es-MX" sz="1400"/>
          </a:pPr>
          <a:endParaRPr lang="es-MX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6"/>
    </mc:Choice>
    <mc:Fallback>
      <c:style val="16"/>
    </mc:Fallback>
  </mc:AlternateContent>
  <c:chart>
    <c:title>
      <c:overlay val="0"/>
      <c:txPr>
        <a:bodyPr/>
        <a:lstStyle/>
        <a:p>
          <a:pPr>
            <a:defRPr lang="es-MX"/>
          </a:pPr>
          <a:endParaRPr lang="es-MX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178975232"/>
        <c:axId val="178975792"/>
      </c:barChart>
      <c:catAx>
        <c:axId val="17897523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lang="es-MX" sz="1200"/>
            </a:pPr>
            <a:endParaRPr lang="es-MX"/>
          </a:p>
        </c:txPr>
        <c:crossAx val="178975792"/>
        <c:crosses val="autoZero"/>
        <c:auto val="1"/>
        <c:lblAlgn val="ctr"/>
        <c:lblOffset val="100"/>
        <c:noMultiLvlLbl val="0"/>
      </c:catAx>
      <c:valAx>
        <c:axId val="178975792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lang="es-MX" sz="1200"/>
            </a:pPr>
            <a:endParaRPr lang="es-MX"/>
          </a:p>
        </c:txPr>
        <c:crossAx val="178975232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lang="es-MX" sz="1400"/>
          </a:pPr>
          <a:endParaRPr lang="es-MX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s-MX" noProof="0"/>
            </a:pPr>
            <a:endParaRPr lang="es-MX" noProof="0" dirty="0"/>
          </a:p>
        </c:rich>
      </c:tx>
      <c:layout/>
      <c:overlay val="0"/>
    </c:title>
    <c:autoTitleDeleted val="0"/>
    <c:plotArea>
      <c:layout/>
      <c:scatterChart>
        <c:scatterStyle val="smoothMarker"/>
        <c:varyColors val="0"/>
        <c:ser>
          <c:idx val="1"/>
          <c:order val="0"/>
          <c:tx>
            <c:strRef>
              <c:f>Sheet1!$F$2</c:f>
              <c:strCache>
                <c:ptCount val="1"/>
                <c:pt idx="0">
                  <c:v>Alemania</c:v>
                </c:pt>
              </c:strCache>
            </c:strRef>
          </c:tx>
          <c:spPr>
            <a:ln>
              <a:solidFill>
                <a:srgbClr val="00FF00"/>
              </a:solidFill>
            </a:ln>
          </c:spPr>
          <c:marker>
            <c:symbol val="none"/>
          </c:marker>
          <c:xVal>
            <c:numRef>
              <c:f>Sheet1!$F$3:$F$21</c:f>
              <c:numCache>
                <c:formatCode>#,##0.00</c:formatCode>
                <c:ptCount val="19"/>
                <c:pt idx="0">
                  <c:v>28959.025954675999</c:v>
                </c:pt>
                <c:pt idx="1">
                  <c:v>29572.070299809999</c:v>
                </c:pt>
                <c:pt idx="2">
                  <c:v>29979.7537717165</c:v>
                </c:pt>
                <c:pt idx="3">
                  <c:v>30129.4845384527</c:v>
                </c:pt>
                <c:pt idx="4">
                  <c:v>30608.1011413495</c:v>
                </c:pt>
                <c:pt idx="5">
                  <c:v>31173.256526034402</c:v>
                </c:pt>
                <c:pt idx="6">
                  <c:v>31736.013833660501</c:v>
                </c:pt>
                <c:pt idx="7">
                  <c:v>32662.125074172302</c:v>
                </c:pt>
                <c:pt idx="8">
                  <c:v>33101.019674139599</c:v>
                </c:pt>
                <c:pt idx="9">
                  <c:v>33048.767745953097</c:v>
                </c:pt>
                <c:pt idx="10">
                  <c:v>32906.465001046803</c:v>
                </c:pt>
                <c:pt idx="11">
                  <c:v>33295.780336797303</c:v>
                </c:pt>
                <c:pt idx="12">
                  <c:v>33542.781383458998</c:v>
                </c:pt>
                <c:pt idx="13">
                  <c:v>34823.121759712303</c:v>
                </c:pt>
                <c:pt idx="14">
                  <c:v>36009.624769736198</c:v>
                </c:pt>
                <c:pt idx="15">
                  <c:v>36468.9586335032</c:v>
                </c:pt>
                <c:pt idx="16">
                  <c:v>34686.967308214102</c:v>
                </c:pt>
                <c:pt idx="17">
                  <c:v>36184.553300496496</c:v>
                </c:pt>
                <c:pt idx="18">
                  <c:v>37271.088448054899</c:v>
                </c:pt>
              </c:numCache>
            </c:numRef>
          </c:xVal>
          <c:yVal>
            <c:numRef>
              <c:f>Sheet1!$F$49:$F$67</c:f>
              <c:numCache>
                <c:formatCode>General</c:formatCode>
                <c:ptCount val="19"/>
                <c:pt idx="0">
                  <c:v>172.24640651421282</c:v>
                </c:pt>
                <c:pt idx="1">
                  <c:v>170.81733736056646</c:v>
                </c:pt>
                <c:pt idx="2">
                  <c:v>172.16104044388365</c:v>
                </c:pt>
                <c:pt idx="3">
                  <c:v>177.429040885955</c:v>
                </c:pt>
                <c:pt idx="4">
                  <c:v>175.65142130185552</c:v>
                </c:pt>
                <c:pt idx="5">
                  <c:v>174.56379637856855</c:v>
                </c:pt>
                <c:pt idx="6">
                  <c:v>170.48274412665089</c:v>
                </c:pt>
                <c:pt idx="7">
                  <c:v>171.08515391003019</c:v>
                </c:pt>
                <c:pt idx="8">
                  <c:v>175.92010806491209</c:v>
                </c:pt>
                <c:pt idx="9">
                  <c:v>171.50807907601393</c:v>
                </c:pt>
                <c:pt idx="10">
                  <c:v>172.81666634604395</c:v>
                </c:pt>
                <c:pt idx="11">
                  <c:v>173.81397120244435</c:v>
                </c:pt>
                <c:pt idx="12">
                  <c:v>171.39826633702367</c:v>
                </c:pt>
                <c:pt idx="13">
                  <c:v>172.82597559323301</c:v>
                </c:pt>
                <c:pt idx="14">
                  <c:v>168.22038087873213</c:v>
                </c:pt>
                <c:pt idx="15">
                  <c:v>170.03331537614423</c:v>
                </c:pt>
                <c:pt idx="16">
                  <c:v>161.7920782004885</c:v>
                </c:pt>
                <c:pt idx="17">
                  <c:v>167.28827645558212</c:v>
                </c:pt>
                <c:pt idx="18">
                  <c:v>156.91869452526376</c:v>
                </c:pt>
              </c:numCache>
            </c:numRef>
          </c:yVal>
          <c:smooth val="1"/>
        </c:ser>
        <c:ser>
          <c:idx val="2"/>
          <c:order val="1"/>
          <c:tx>
            <c:strRef>
              <c:f>Sheet1!$G$2</c:f>
              <c:strCache>
                <c:ptCount val="1"/>
                <c:pt idx="0">
                  <c:v>Australia</c:v>
                </c:pt>
              </c:strCache>
            </c:strRef>
          </c:tx>
          <c:spPr>
            <a:ln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xVal>
            <c:numRef>
              <c:f>Sheet1!$G$3:$G$21</c:f>
              <c:numCache>
                <c:formatCode>#,##0.00</c:formatCode>
                <c:ptCount val="19"/>
                <c:pt idx="0">
                  <c:v>25067.981071219401</c:v>
                </c:pt>
                <c:pt idx="1">
                  <c:v>25808.217881726399</c:v>
                </c:pt>
                <c:pt idx="2">
                  <c:v>26515.624827266001</c:v>
                </c:pt>
                <c:pt idx="3">
                  <c:v>27214.6372953672</c:v>
                </c:pt>
                <c:pt idx="4">
                  <c:v>27961.5943628155</c:v>
                </c:pt>
                <c:pt idx="5">
                  <c:v>28923.586846702601</c:v>
                </c:pt>
                <c:pt idx="6">
                  <c:v>30011.7176890786</c:v>
                </c:pt>
                <c:pt idx="7">
                  <c:v>30796.5997421055</c:v>
                </c:pt>
                <c:pt idx="8">
                  <c:v>30961.2788671993</c:v>
                </c:pt>
                <c:pt idx="9">
                  <c:v>31782.524667229602</c:v>
                </c:pt>
                <c:pt idx="10">
                  <c:v>32381.894050425901</c:v>
                </c:pt>
                <c:pt idx="11">
                  <c:v>33336.187050469198</c:v>
                </c:pt>
                <c:pt idx="12">
                  <c:v>33947.564152933999</c:v>
                </c:pt>
                <c:pt idx="13">
                  <c:v>34468.246366398002</c:v>
                </c:pt>
                <c:pt idx="14">
                  <c:v>35232.591086430803</c:v>
                </c:pt>
                <c:pt idx="15">
                  <c:v>35930.464677941301</c:v>
                </c:pt>
                <c:pt idx="16">
                  <c:v>35861.254317840801</c:v>
                </c:pt>
                <c:pt idx="17">
                  <c:v>36134.535627622201</c:v>
                </c:pt>
                <c:pt idx="18">
                  <c:v>36584.994374830203</c:v>
                </c:pt>
              </c:numCache>
            </c:numRef>
          </c:xVal>
          <c:yVal>
            <c:numRef>
              <c:f>Sheet1!$G$49:$G$67</c:f>
              <c:numCache>
                <c:formatCode>General</c:formatCode>
                <c:ptCount val="19"/>
                <c:pt idx="0">
                  <c:v>215.65543145740031</c:v>
                </c:pt>
                <c:pt idx="1">
                  <c:v>213.58868867941041</c:v>
                </c:pt>
                <c:pt idx="2">
                  <c:v>214.02417435392826</c:v>
                </c:pt>
                <c:pt idx="3">
                  <c:v>225.80785363331481</c:v>
                </c:pt>
                <c:pt idx="4">
                  <c:v>228.58384923664127</c:v>
                </c:pt>
                <c:pt idx="5">
                  <c:v>232.12211813523058</c:v>
                </c:pt>
                <c:pt idx="6">
                  <c:v>234.46754042843745</c:v>
                </c:pt>
                <c:pt idx="7">
                  <c:v>235.87390911050022</c:v>
                </c:pt>
                <c:pt idx="8">
                  <c:v>227.63646873392955</c:v>
                </c:pt>
                <c:pt idx="9">
                  <c:v>232.76536651058188</c:v>
                </c:pt>
                <c:pt idx="10">
                  <c:v>232.9203594457673</c:v>
                </c:pt>
                <c:pt idx="11">
                  <c:v>230.45672471616479</c:v>
                </c:pt>
                <c:pt idx="12">
                  <c:v>234.02243817817714</c:v>
                </c:pt>
                <c:pt idx="13">
                  <c:v>234.24231112396157</c:v>
                </c:pt>
                <c:pt idx="14">
                  <c:v>238.12090760213408</c:v>
                </c:pt>
                <c:pt idx="15">
                  <c:v>242.77351074938991</c:v>
                </c:pt>
                <c:pt idx="16">
                  <c:v>241.71927653667555</c:v>
                </c:pt>
                <c:pt idx="17">
                  <c:v>236.2133143503157</c:v>
                </c:pt>
                <c:pt idx="18">
                  <c:v>224.24788967081417</c:v>
                </c:pt>
              </c:numCache>
            </c:numRef>
          </c:yVal>
          <c:smooth val="1"/>
        </c:ser>
        <c:ser>
          <c:idx val="3"/>
          <c:order val="2"/>
          <c:tx>
            <c:strRef>
              <c:f>Sheet1!$H$2</c:f>
              <c:strCache>
                <c:ptCount val="1"/>
                <c:pt idx="0">
                  <c:v>Brasil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xVal>
            <c:numRef>
              <c:f>Sheet1!$H$3:$H$20</c:f>
              <c:numCache>
                <c:formatCode>#,##0.00</c:formatCode>
                <c:ptCount val="18"/>
                <c:pt idx="0">
                  <c:v>4031.1290364598899</c:v>
                </c:pt>
                <c:pt idx="1">
                  <c:v>4181.6649457871299</c:v>
                </c:pt>
                <c:pt idx="2">
                  <c:v>4300.0697774421196</c:v>
                </c:pt>
                <c:pt idx="3">
                  <c:v>4325.6790122089296</c:v>
                </c:pt>
                <c:pt idx="4">
                  <c:v>4403.81207204978</c:v>
                </c:pt>
                <c:pt idx="5">
                  <c:v>4339.1704243403801</c:v>
                </c:pt>
                <c:pt idx="6">
                  <c:v>4286.1727330748099</c:v>
                </c:pt>
                <c:pt idx="7">
                  <c:v>4406.7132432786402</c:v>
                </c:pt>
                <c:pt idx="8">
                  <c:v>4402.5112011112697</c:v>
                </c:pt>
                <c:pt idx="9">
                  <c:v>4458.3339144225902</c:v>
                </c:pt>
                <c:pt idx="10">
                  <c:v>4450.9262916617499</c:v>
                </c:pt>
                <c:pt idx="11">
                  <c:v>4647.5272474497597</c:v>
                </c:pt>
                <c:pt idx="12">
                  <c:v>4739.3054367480499</c:v>
                </c:pt>
                <c:pt idx="13">
                  <c:v>4874.6014810176202</c:v>
                </c:pt>
                <c:pt idx="14">
                  <c:v>5121.02886038006</c:v>
                </c:pt>
                <c:pt idx="15">
                  <c:v>5336.0791455400904</c:v>
                </c:pt>
                <c:pt idx="16">
                  <c:v>5271.1380366032499</c:v>
                </c:pt>
                <c:pt idx="17">
                  <c:v>5618.3246002281503</c:v>
                </c:pt>
              </c:numCache>
            </c:numRef>
          </c:xVal>
          <c:yVal>
            <c:numRef>
              <c:f>Sheet1!$H$49:$H$66</c:f>
              <c:numCache>
                <c:formatCode>General</c:formatCode>
                <c:ptCount val="18"/>
                <c:pt idx="0">
                  <c:v>39.385483389609441</c:v>
                </c:pt>
                <c:pt idx="1">
                  <c:v>40.831754825732325</c:v>
                </c:pt>
                <c:pt idx="2">
                  <c:v>41.588261381017482</c:v>
                </c:pt>
                <c:pt idx="3">
                  <c:v>43.132309022929199</c:v>
                </c:pt>
                <c:pt idx="4">
                  <c:v>44.6383845127813</c:v>
                </c:pt>
                <c:pt idx="5">
                  <c:v>45.027985632228834</c:v>
                </c:pt>
                <c:pt idx="6">
                  <c:v>45.346172429758454</c:v>
                </c:pt>
                <c:pt idx="7">
                  <c:v>44.875434028895867</c:v>
                </c:pt>
                <c:pt idx="8">
                  <c:v>45.021054125063735</c:v>
                </c:pt>
                <c:pt idx="9">
                  <c:v>45.587425598506059</c:v>
                </c:pt>
                <c:pt idx="10">
                  <c:v>45.732791936877476</c:v>
                </c:pt>
                <c:pt idx="11">
                  <c:v>47.678611794096241</c:v>
                </c:pt>
                <c:pt idx="12">
                  <c:v>48.319780424775495</c:v>
                </c:pt>
                <c:pt idx="13">
                  <c:v>49.46970085686047</c:v>
                </c:pt>
                <c:pt idx="14">
                  <c:v>51.76417600544324</c:v>
                </c:pt>
                <c:pt idx="15">
                  <c:v>54.117006943206995</c:v>
                </c:pt>
                <c:pt idx="16">
                  <c:v>51.889797879848416</c:v>
                </c:pt>
                <c:pt idx="17">
                  <c:v>56.86124050507064</c:v>
                </c:pt>
              </c:numCache>
            </c:numRef>
          </c:yVal>
          <c:smooth val="1"/>
        </c:ser>
        <c:ser>
          <c:idx val="0"/>
          <c:order val="3"/>
          <c:tx>
            <c:strRef>
              <c:f>Sheet1!$I$2</c:f>
              <c:strCache>
                <c:ptCount val="1"/>
                <c:pt idx="0">
                  <c:v>China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xVal>
            <c:numRef>
              <c:f>Sheet1!$I$3:$I$21</c:f>
              <c:numCache>
                <c:formatCode>#,##0.00</c:formatCode>
                <c:ptCount val="19"/>
                <c:pt idx="0">
                  <c:v>634.175779548013</c:v>
                </c:pt>
                <c:pt idx="1">
                  <c:v>709.19162257425205</c:v>
                </c:pt>
                <c:pt idx="2">
                  <c:v>777.99444067317495</c:v>
                </c:pt>
                <c:pt idx="3">
                  <c:v>846.87079873435005</c:v>
                </c:pt>
                <c:pt idx="4">
                  <c:v>916.20473736309998</c:v>
                </c:pt>
                <c:pt idx="5">
                  <c:v>978.23685185798399</c:v>
                </c:pt>
                <c:pt idx="6">
                  <c:v>1043.5083916732401</c:v>
                </c:pt>
                <c:pt idx="7">
                  <c:v>1122.2850459047199</c:v>
                </c:pt>
                <c:pt idx="8">
                  <c:v>1206.6380097768099</c:v>
                </c:pt>
                <c:pt idx="9">
                  <c:v>1307.6513941217499</c:v>
                </c:pt>
                <c:pt idx="10">
                  <c:v>1429.4850431052701</c:v>
                </c:pt>
                <c:pt idx="11">
                  <c:v>1564.5430480644</c:v>
                </c:pt>
                <c:pt idx="12">
                  <c:v>1731.1252345790001</c:v>
                </c:pt>
                <c:pt idx="13">
                  <c:v>1940.1147349850801</c:v>
                </c:pt>
                <c:pt idx="14">
                  <c:v>2204.0696791300302</c:v>
                </c:pt>
                <c:pt idx="15">
                  <c:v>2403.3144966138302</c:v>
                </c:pt>
                <c:pt idx="16">
                  <c:v>2611.39846494832</c:v>
                </c:pt>
                <c:pt idx="17">
                  <c:v>2869.0938239549</c:v>
                </c:pt>
                <c:pt idx="18">
                  <c:v>3120.9297174191001</c:v>
                </c:pt>
              </c:numCache>
            </c:numRef>
          </c:xVal>
          <c:yVal>
            <c:numRef>
              <c:f>Sheet1!$I$49:$I$66</c:f>
              <c:numCache>
                <c:formatCode>General</c:formatCode>
                <c:ptCount val="18"/>
                <c:pt idx="0">
                  <c:v>33.201177047950921</c:v>
                </c:pt>
                <c:pt idx="1">
                  <c:v>34.325053760077381</c:v>
                </c:pt>
                <c:pt idx="2">
                  <c:v>36.284740417914676</c:v>
                </c:pt>
                <c:pt idx="3">
                  <c:v>37.190437071566109</c:v>
                </c:pt>
                <c:pt idx="4">
                  <c:v>38.06338675548254</c:v>
                </c:pt>
                <c:pt idx="5">
                  <c:v>38.416764168812307</c:v>
                </c:pt>
                <c:pt idx="6">
                  <c:v>37.775946545867541</c:v>
                </c:pt>
                <c:pt idx="7">
                  <c:v>39.141730491752718</c:v>
                </c:pt>
                <c:pt idx="8">
                  <c:v>39.496385975487883</c:v>
                </c:pt>
                <c:pt idx="9">
                  <c:v>41.320514400335242</c:v>
                </c:pt>
                <c:pt idx="10">
                  <c:v>46.714823864182655</c:v>
                </c:pt>
                <c:pt idx="11">
                  <c:v>52.331904837514308</c:v>
                </c:pt>
                <c:pt idx="12">
                  <c:v>56.098089600490276</c:v>
                </c:pt>
                <c:pt idx="13">
                  <c:v>60.945172234123419</c:v>
                </c:pt>
                <c:pt idx="14">
                  <c:v>63.886704883150564</c:v>
                </c:pt>
                <c:pt idx="15">
                  <c:v>65.808998773256931</c:v>
                </c:pt>
                <c:pt idx="16">
                  <c:v>70.60567257475526</c:v>
                </c:pt>
                <c:pt idx="17">
                  <c:v>75.507513660282186</c:v>
                </c:pt>
              </c:numCache>
            </c:numRef>
          </c:yVal>
          <c:smooth val="1"/>
        </c:ser>
        <c:ser>
          <c:idx val="4"/>
          <c:order val="4"/>
          <c:tx>
            <c:strRef>
              <c:f>Sheet1!$J$2</c:f>
              <c:strCache>
                <c:ptCount val="1"/>
                <c:pt idx="0">
                  <c:v>Corea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xVal>
            <c:numRef>
              <c:f>Sheet1!$J$3:$J$21</c:f>
              <c:numCache>
                <c:formatCode>#,##0.00</c:formatCode>
                <c:ptCount val="19"/>
                <c:pt idx="0">
                  <c:v>10488.2675895222</c:v>
                </c:pt>
                <c:pt idx="1">
                  <c:v>11281.9357026992</c:v>
                </c:pt>
                <c:pt idx="2">
                  <c:v>12141.5652937592</c:v>
                </c:pt>
                <c:pt idx="3">
                  <c:v>12868.029058104899</c:v>
                </c:pt>
                <c:pt idx="4">
                  <c:v>13340.799842673499</c:v>
                </c:pt>
                <c:pt idx="5">
                  <c:v>12336.961888837999</c:v>
                </c:pt>
                <c:pt idx="6">
                  <c:v>13411.668359474301</c:v>
                </c:pt>
                <c:pt idx="7">
                  <c:v>14428.787145269</c:v>
                </c:pt>
                <c:pt idx="8">
                  <c:v>14891.5530535826</c:v>
                </c:pt>
                <c:pt idx="9">
                  <c:v>15867.5103912741</c:v>
                </c:pt>
                <c:pt idx="10">
                  <c:v>16231.46217329</c:v>
                </c:pt>
                <c:pt idx="11">
                  <c:v>16917.5689286899</c:v>
                </c:pt>
                <c:pt idx="12">
                  <c:v>17550.853885400898</c:v>
                </c:pt>
                <c:pt idx="13">
                  <c:v>18370.458060983001</c:v>
                </c:pt>
                <c:pt idx="14">
                  <c:v>19218.629485282199</c:v>
                </c:pt>
                <c:pt idx="15">
                  <c:v>19519.366852188901</c:v>
                </c:pt>
                <c:pt idx="16">
                  <c:v>19488.9625953082</c:v>
                </c:pt>
                <c:pt idx="17">
                  <c:v>20625.099828385901</c:v>
                </c:pt>
                <c:pt idx="18">
                  <c:v>21226.0271822746</c:v>
                </c:pt>
              </c:numCache>
            </c:numRef>
          </c:xVal>
          <c:yVal>
            <c:numRef>
              <c:f>Sheet1!$J$49:$J$67</c:f>
              <c:numCache>
                <c:formatCode>General</c:formatCode>
                <c:ptCount val="19"/>
                <c:pt idx="0">
                  <c:v>117.99918931708098</c:v>
                </c:pt>
                <c:pt idx="1">
                  <c:v>124.17394384216823</c:v>
                </c:pt>
                <c:pt idx="2">
                  <c:v>134.14606320922033</c:v>
                </c:pt>
                <c:pt idx="3">
                  <c:v>144.36627078064126</c:v>
                </c:pt>
                <c:pt idx="4">
                  <c:v>155.70541801993144</c:v>
                </c:pt>
                <c:pt idx="5">
                  <c:v>141.13987121644158</c:v>
                </c:pt>
                <c:pt idx="6">
                  <c:v>154.97781259154701</c:v>
                </c:pt>
                <c:pt idx="7">
                  <c:v>167.26685446362504</c:v>
                </c:pt>
                <c:pt idx="8">
                  <c:v>168.57980038449739</c:v>
                </c:pt>
                <c:pt idx="9">
                  <c:v>174.32866505586804</c:v>
                </c:pt>
                <c:pt idx="10">
                  <c:v>177.00181742326242</c:v>
                </c:pt>
                <c:pt idx="11">
                  <c:v>181.18138287013156</c:v>
                </c:pt>
                <c:pt idx="12">
                  <c:v>182.45143014265497</c:v>
                </c:pt>
                <c:pt idx="13">
                  <c:v>184.52622799463592</c:v>
                </c:pt>
                <c:pt idx="14">
                  <c:v>191.01714920615842</c:v>
                </c:pt>
                <c:pt idx="15">
                  <c:v>193.74503160665637</c:v>
                </c:pt>
                <c:pt idx="16">
                  <c:v>194.72333471174565</c:v>
                </c:pt>
                <c:pt idx="17">
                  <c:v>211.44343179083205</c:v>
                </c:pt>
                <c:pt idx="18">
                  <c:v>216.23897479153939</c:v>
                </c:pt>
              </c:numCache>
            </c:numRef>
          </c:yVal>
          <c:smooth val="1"/>
        </c:ser>
        <c:ser>
          <c:idx val="5"/>
          <c:order val="5"/>
          <c:tx>
            <c:strRef>
              <c:f>Sheet1!$K$2</c:f>
              <c:strCache>
                <c:ptCount val="1"/>
                <c:pt idx="0">
                  <c:v>EE.UU.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xVal>
            <c:numRef>
              <c:f>Sheet1!$K$3:$K$21</c:f>
              <c:numCache>
                <c:formatCode>#,##0.00</c:formatCode>
                <c:ptCount val="19"/>
                <c:pt idx="0">
                  <c:v>32502.818185665601</c:v>
                </c:pt>
                <c:pt idx="1">
                  <c:v>33427.7114386264</c:v>
                </c:pt>
                <c:pt idx="2">
                  <c:v>33873.996349679699</c:v>
                </c:pt>
                <c:pt idx="3">
                  <c:v>34749.845950540897</c:v>
                </c:pt>
                <c:pt idx="4">
                  <c:v>35880.9786655028</c:v>
                </c:pt>
                <c:pt idx="5">
                  <c:v>37026.108013659403</c:v>
                </c:pt>
                <c:pt idx="6">
                  <c:v>38385.536123853199</c:v>
                </c:pt>
                <c:pt idx="7">
                  <c:v>39544.955546896002</c:v>
                </c:pt>
                <c:pt idx="8">
                  <c:v>39583.610081315703</c:v>
                </c:pt>
                <c:pt idx="9">
                  <c:v>39934.957992361997</c:v>
                </c:pt>
                <c:pt idx="10">
                  <c:v>40603.853463048901</c:v>
                </c:pt>
                <c:pt idx="11">
                  <c:v>41629.711221960199</c:v>
                </c:pt>
                <c:pt idx="12">
                  <c:v>42516.393469999297</c:v>
                </c:pt>
                <c:pt idx="13">
                  <c:v>43228.111147107003</c:v>
                </c:pt>
                <c:pt idx="14">
                  <c:v>43635.585206814198</c:v>
                </c:pt>
                <c:pt idx="15">
                  <c:v>43069.581985720797</c:v>
                </c:pt>
                <c:pt idx="16">
                  <c:v>41366.289894522801</c:v>
                </c:pt>
                <c:pt idx="17">
                  <c:v>42000.965162265202</c:v>
                </c:pt>
                <c:pt idx="18">
                  <c:v>42446.781680320899</c:v>
                </c:pt>
              </c:numCache>
            </c:numRef>
          </c:xVal>
          <c:yVal>
            <c:numRef>
              <c:f>Sheet1!$K$49:$K$67</c:f>
              <c:numCache>
                <c:formatCode>General</c:formatCode>
                <c:ptCount val="19"/>
                <c:pt idx="0">
                  <c:v>322.17835293858712</c:v>
                </c:pt>
                <c:pt idx="1">
                  <c:v>324.15510064595748</c:v>
                </c:pt>
                <c:pt idx="2">
                  <c:v>324.4152470513464</c:v>
                </c:pt>
                <c:pt idx="3">
                  <c:v>327.78542489278203</c:v>
                </c:pt>
                <c:pt idx="4">
                  <c:v>327.1385734664064</c:v>
                </c:pt>
                <c:pt idx="5">
                  <c:v>326.09886222979026</c:v>
                </c:pt>
                <c:pt idx="6">
                  <c:v>331.09639419864686</c:v>
                </c:pt>
                <c:pt idx="7">
                  <c:v>336.67811847216063</c:v>
                </c:pt>
                <c:pt idx="8">
                  <c:v>327.1279247588887</c:v>
                </c:pt>
                <c:pt idx="9">
                  <c:v>327.75942932985754</c:v>
                </c:pt>
                <c:pt idx="10">
                  <c:v>325.70262675115589</c:v>
                </c:pt>
                <c:pt idx="11">
                  <c:v>329.36245696538344</c:v>
                </c:pt>
                <c:pt idx="12">
                  <c:v>327.90202533785231</c:v>
                </c:pt>
                <c:pt idx="13">
                  <c:v>321.64982621542492</c:v>
                </c:pt>
                <c:pt idx="14">
                  <c:v>324.19965221239727</c:v>
                </c:pt>
                <c:pt idx="15">
                  <c:v>312.90538480801672</c:v>
                </c:pt>
                <c:pt idx="16">
                  <c:v>294.90926518702565</c:v>
                </c:pt>
                <c:pt idx="17">
                  <c:v>299.41099831804803</c:v>
                </c:pt>
                <c:pt idx="18">
                  <c:v>295.41276842814699</c:v>
                </c:pt>
              </c:numCache>
            </c:numRef>
          </c:yVal>
          <c:smooth val="1"/>
        </c:ser>
        <c:ser>
          <c:idx val="6"/>
          <c:order val="6"/>
          <c:tx>
            <c:strRef>
              <c:f>Sheet1!$L$2</c:f>
              <c:strCache>
                <c:ptCount val="1"/>
                <c:pt idx="0">
                  <c:v>España</c:v>
                </c:pt>
              </c:strCache>
            </c:strRef>
          </c:tx>
          <c:spPr>
            <a:ln>
              <a:solidFill>
                <a:schemeClr val="bg2">
                  <a:lumMod val="50000"/>
                </a:schemeClr>
              </a:solidFill>
            </a:ln>
          </c:spPr>
          <c:marker>
            <c:symbol val="none"/>
          </c:marker>
          <c:xVal>
            <c:numRef>
              <c:f>Sheet1!$L$3:$L$21</c:f>
              <c:numCache>
                <c:formatCode>#,##0.00</c:formatCode>
                <c:ptCount val="19"/>
                <c:pt idx="0">
                  <c:v>19103.044809564501</c:v>
                </c:pt>
                <c:pt idx="1">
                  <c:v>19505.763751366099</c:v>
                </c:pt>
                <c:pt idx="2">
                  <c:v>19996.7907568152</c:v>
                </c:pt>
                <c:pt idx="3">
                  <c:v>20432.819873812401</c:v>
                </c:pt>
                <c:pt idx="4">
                  <c:v>21167.418706403801</c:v>
                </c:pt>
                <c:pt idx="5">
                  <c:v>22035.999831681402</c:v>
                </c:pt>
                <c:pt idx="6">
                  <c:v>22963.209334736399</c:v>
                </c:pt>
                <c:pt idx="7">
                  <c:v>23920.934110497201</c:v>
                </c:pt>
                <c:pt idx="8">
                  <c:v>24520.220848976001</c:v>
                </c:pt>
                <c:pt idx="9">
                  <c:v>24822.9760405294</c:v>
                </c:pt>
                <c:pt idx="10">
                  <c:v>25169.173222274701</c:v>
                </c:pt>
                <c:pt idx="11">
                  <c:v>25571.1842052846</c:v>
                </c:pt>
                <c:pt idx="12">
                  <c:v>26056.388766184002</c:v>
                </c:pt>
                <c:pt idx="13">
                  <c:v>26676.964996463001</c:v>
                </c:pt>
                <c:pt idx="14">
                  <c:v>27136.0885239173</c:v>
                </c:pt>
                <c:pt idx="15">
                  <c:v>26971.3344554754</c:v>
                </c:pt>
                <c:pt idx="16">
                  <c:v>25761.7713318596</c:v>
                </c:pt>
                <c:pt idx="17">
                  <c:v>25588.870821516601</c:v>
                </c:pt>
                <c:pt idx="18">
                  <c:v>25638.1305571056</c:v>
                </c:pt>
              </c:numCache>
            </c:numRef>
          </c:xVal>
          <c:yVal>
            <c:numRef>
              <c:f>Sheet1!$L$49:$L$67</c:f>
              <c:numCache>
                <c:formatCode>General</c:formatCode>
                <c:ptCount val="19"/>
                <c:pt idx="0">
                  <c:v>97.324969028246542</c:v>
                </c:pt>
                <c:pt idx="1">
                  <c:v>102.44971099367226</c:v>
                </c:pt>
                <c:pt idx="2">
                  <c:v>106.93563844621048</c:v>
                </c:pt>
                <c:pt idx="3">
                  <c:v>105.13023701720954</c:v>
                </c:pt>
                <c:pt idx="4">
                  <c:v>111.4757526160154</c:v>
                </c:pt>
                <c:pt idx="5">
                  <c:v>116.64193841521933</c:v>
                </c:pt>
                <c:pt idx="6">
                  <c:v>121.65643347306543</c:v>
                </c:pt>
                <c:pt idx="7">
                  <c:v>126.58843054718778</c:v>
                </c:pt>
                <c:pt idx="8">
                  <c:v>128.32777806660289</c:v>
                </c:pt>
                <c:pt idx="9">
                  <c:v>130.38175687590095</c:v>
                </c:pt>
                <c:pt idx="10">
                  <c:v>132.55814193605539</c:v>
                </c:pt>
                <c:pt idx="11">
                  <c:v>136.13660373358286</c:v>
                </c:pt>
                <c:pt idx="12">
                  <c:v>136.60589607588801</c:v>
                </c:pt>
                <c:pt idx="13">
                  <c:v>134.26115203357648</c:v>
                </c:pt>
                <c:pt idx="14">
                  <c:v>133.92299403350813</c:v>
                </c:pt>
                <c:pt idx="15">
                  <c:v>127.53264651230366</c:v>
                </c:pt>
                <c:pt idx="16">
                  <c:v>116.01566029394613</c:v>
                </c:pt>
                <c:pt idx="17">
                  <c:v>115.8641109439848</c:v>
                </c:pt>
                <c:pt idx="18">
                  <c:v>113.93776135738565</c:v>
                </c:pt>
              </c:numCache>
            </c:numRef>
          </c:yVal>
          <c:smooth val="1"/>
        </c:ser>
        <c:ser>
          <c:idx val="7"/>
          <c:order val="7"/>
          <c:tx>
            <c:strRef>
              <c:f>Sheet1!$M$2</c:f>
              <c:strCache>
                <c:ptCount val="1"/>
                <c:pt idx="0">
                  <c:v>Francia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xVal>
            <c:numRef>
              <c:f>Sheet1!$M$3:$M$21</c:f>
              <c:numCache>
                <c:formatCode>#,##0.00</c:formatCode>
                <c:ptCount val="19"/>
                <c:pt idx="0">
                  <c:v>27981.684277494998</c:v>
                </c:pt>
                <c:pt idx="1">
                  <c:v>28504.094193353601</c:v>
                </c:pt>
                <c:pt idx="2">
                  <c:v>28982.636347567099</c:v>
                </c:pt>
                <c:pt idx="3">
                  <c:v>29188.438142105901</c:v>
                </c:pt>
                <c:pt idx="4">
                  <c:v>29720.497288424802</c:v>
                </c:pt>
                <c:pt idx="5">
                  <c:v>30611.4988945154</c:v>
                </c:pt>
                <c:pt idx="6">
                  <c:v>31457.033809723402</c:v>
                </c:pt>
                <c:pt idx="7">
                  <c:v>32392.1111320487</c:v>
                </c:pt>
                <c:pt idx="8">
                  <c:v>32747.676835358201</c:v>
                </c:pt>
                <c:pt idx="9">
                  <c:v>32812.539865828803</c:v>
                </c:pt>
                <c:pt idx="10">
                  <c:v>32874.049213680002</c:v>
                </c:pt>
                <c:pt idx="11">
                  <c:v>33463.486300875498</c:v>
                </c:pt>
                <c:pt idx="12">
                  <c:v>33818.968750223998</c:v>
                </c:pt>
                <c:pt idx="13">
                  <c:v>34412.637295659399</c:v>
                </c:pt>
                <c:pt idx="14">
                  <c:v>34982.128499976701</c:v>
                </c:pt>
                <c:pt idx="15">
                  <c:v>34759.226851474603</c:v>
                </c:pt>
                <c:pt idx="16">
                  <c:v>33492.687051435598</c:v>
                </c:pt>
                <c:pt idx="17">
                  <c:v>33898.380840210499</c:v>
                </c:pt>
                <c:pt idx="18">
                  <c:v>34405.383416186101</c:v>
                </c:pt>
              </c:numCache>
            </c:numRef>
          </c:xVal>
          <c:yVal>
            <c:numRef>
              <c:f>Sheet1!$M$49:$M$67</c:f>
              <c:numCache>
                <c:formatCode>General</c:formatCode>
                <c:ptCount val="19"/>
                <c:pt idx="0">
                  <c:v>167.15259785166657</c:v>
                </c:pt>
                <c:pt idx="1">
                  <c:v>160.24666114825629</c:v>
                </c:pt>
                <c:pt idx="2">
                  <c:v>166.09999960060142</c:v>
                </c:pt>
                <c:pt idx="3">
                  <c:v>174.85101393022725</c:v>
                </c:pt>
                <c:pt idx="4">
                  <c:v>168.86903250064694</c:v>
                </c:pt>
                <c:pt idx="5">
                  <c:v>173.37011872943026</c:v>
                </c:pt>
                <c:pt idx="6">
                  <c:v>172.20594247544074</c:v>
                </c:pt>
                <c:pt idx="7">
                  <c:v>172.79336266378283</c:v>
                </c:pt>
                <c:pt idx="8">
                  <c:v>177.29936237139205</c:v>
                </c:pt>
                <c:pt idx="9">
                  <c:v>176.54520490254004</c:v>
                </c:pt>
                <c:pt idx="10">
                  <c:v>178.45838193848994</c:v>
                </c:pt>
                <c:pt idx="11">
                  <c:v>179.73112966973918</c:v>
                </c:pt>
                <c:pt idx="12">
                  <c:v>179.00700004451542</c:v>
                </c:pt>
                <c:pt idx="13">
                  <c:v>175.15180580491401</c:v>
                </c:pt>
                <c:pt idx="14">
                  <c:v>172.0040657388995</c:v>
                </c:pt>
                <c:pt idx="15">
                  <c:v>171.89832181325463</c:v>
                </c:pt>
                <c:pt idx="16">
                  <c:v>163.71434631034288</c:v>
                </c:pt>
                <c:pt idx="17">
                  <c:v>168.54191407511121</c:v>
                </c:pt>
                <c:pt idx="18">
                  <c:v>160.73542506902041</c:v>
                </c:pt>
              </c:numCache>
            </c:numRef>
          </c:yVal>
          <c:smooth val="1"/>
        </c:ser>
        <c:ser>
          <c:idx val="8"/>
          <c:order val="8"/>
          <c:tx>
            <c:strRef>
              <c:f>Sheet1!$N$2</c:f>
              <c:strCache>
                <c:ptCount val="1"/>
                <c:pt idx="0">
                  <c:v>Grecia</c:v>
                </c:pt>
              </c:strCache>
            </c:strRef>
          </c:tx>
          <c:spPr>
            <a:ln>
              <a:solidFill>
                <a:srgbClr val="FFFF00"/>
              </a:solidFill>
            </a:ln>
          </c:spPr>
          <c:marker>
            <c:symbol val="none"/>
          </c:marker>
          <c:xVal>
            <c:numRef>
              <c:f>Sheet1!$N$3:$N$21</c:f>
              <c:numCache>
                <c:formatCode>#,##0.00</c:formatCode>
                <c:ptCount val="19"/>
                <c:pt idx="0">
                  <c:v>15253.058820865601</c:v>
                </c:pt>
                <c:pt idx="1">
                  <c:v>15429.1102474448</c:v>
                </c:pt>
                <c:pt idx="2">
                  <c:v>15632.5717881849</c:v>
                </c:pt>
                <c:pt idx="3">
                  <c:v>15889.505213636699</c:v>
                </c:pt>
                <c:pt idx="4">
                  <c:v>16364.615106781401</c:v>
                </c:pt>
                <c:pt idx="5">
                  <c:v>16823.934222806201</c:v>
                </c:pt>
                <c:pt idx="6">
                  <c:v>17322.9470393433</c:v>
                </c:pt>
                <c:pt idx="7">
                  <c:v>18040.706516241</c:v>
                </c:pt>
                <c:pt idx="8">
                  <c:v>18742.133226452799</c:v>
                </c:pt>
                <c:pt idx="9">
                  <c:v>19320.385291686202</c:v>
                </c:pt>
                <c:pt idx="10">
                  <c:v>20401.8767633725</c:v>
                </c:pt>
                <c:pt idx="11">
                  <c:v>21219.448507486799</c:v>
                </c:pt>
                <c:pt idx="12">
                  <c:v>21620.7174943625</c:v>
                </c:pt>
                <c:pt idx="13">
                  <c:v>22721.1372811414</c:v>
                </c:pt>
                <c:pt idx="14">
                  <c:v>23431.471153297502</c:v>
                </c:pt>
                <c:pt idx="15">
                  <c:v>23289.086499899899</c:v>
                </c:pt>
                <c:pt idx="16">
                  <c:v>22467.521845946401</c:v>
                </c:pt>
                <c:pt idx="17">
                  <c:v>21310.186233040698</c:v>
                </c:pt>
                <c:pt idx="18">
                  <c:v>19809.337333421401</c:v>
                </c:pt>
              </c:numCache>
            </c:numRef>
          </c:xVal>
          <c:yVal>
            <c:numRef>
              <c:f>Sheet1!$N$49:$N$67</c:f>
              <c:numCache>
                <c:formatCode>General</c:formatCode>
                <c:ptCount val="19"/>
                <c:pt idx="0">
                  <c:v>87.324974136278698</c:v>
                </c:pt>
                <c:pt idx="1">
                  <c:v>89.01356291195556</c:v>
                </c:pt>
                <c:pt idx="2">
                  <c:v>89.115032362355322</c:v>
                </c:pt>
                <c:pt idx="3">
                  <c:v>91.324548267804943</c:v>
                </c:pt>
                <c:pt idx="4">
                  <c:v>94.346015197466585</c:v>
                </c:pt>
                <c:pt idx="5">
                  <c:v>98.810445204813519</c:v>
                </c:pt>
                <c:pt idx="6">
                  <c:v>98.767289225810899</c:v>
                </c:pt>
                <c:pt idx="7">
                  <c:v>103.6759353827465</c:v>
                </c:pt>
                <c:pt idx="8">
                  <c:v>106.86997410651961</c:v>
                </c:pt>
                <c:pt idx="9">
                  <c:v>107.70969038632242</c:v>
                </c:pt>
                <c:pt idx="10">
                  <c:v>110.46702063767282</c:v>
                </c:pt>
                <c:pt idx="11">
                  <c:v>112.22500044470794</c:v>
                </c:pt>
                <c:pt idx="12">
                  <c:v>113.83162780246093</c:v>
                </c:pt>
                <c:pt idx="13">
                  <c:v>113.28436347195186</c:v>
                </c:pt>
                <c:pt idx="14">
                  <c:v>112.8134391827362</c:v>
                </c:pt>
                <c:pt idx="15">
                  <c:v>113.11920326762763</c:v>
                </c:pt>
                <c:pt idx="16">
                  <c:v>109.02152515744405</c:v>
                </c:pt>
                <c:pt idx="17">
                  <c:v>102.05541801020446</c:v>
                </c:pt>
                <c:pt idx="18">
                  <c:v>98.161234018560648</c:v>
                </c:pt>
              </c:numCache>
            </c:numRef>
          </c:yVal>
          <c:smooth val="1"/>
        </c:ser>
        <c:ser>
          <c:idx val="9"/>
          <c:order val="9"/>
          <c:tx>
            <c:strRef>
              <c:f>Sheet1!$O$2</c:f>
              <c:strCache>
                <c:ptCount val="1"/>
                <c:pt idx="0">
                  <c:v>India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xVal>
            <c:numRef>
              <c:f>Sheet1!$O$3:$O$20</c:f>
              <c:numCache>
                <c:formatCode>#,##0.00</c:formatCode>
                <c:ptCount val="18"/>
                <c:pt idx="0">
                  <c:v>424.58148517990003</c:v>
                </c:pt>
                <c:pt idx="1">
                  <c:v>444.48413674892402</c:v>
                </c:pt>
                <c:pt idx="2">
                  <c:v>469.47112171952898</c:v>
                </c:pt>
                <c:pt idx="3">
                  <c:v>495.91548313242998</c:v>
                </c:pt>
                <c:pt idx="4">
                  <c:v>506.97986539317799</c:v>
                </c:pt>
                <c:pt idx="5">
                  <c:v>529.09927912910302</c:v>
                </c:pt>
                <c:pt idx="6">
                  <c:v>564.20936458936296</c:v>
                </c:pt>
                <c:pt idx="7">
                  <c:v>576.92948438063195</c:v>
                </c:pt>
                <c:pt idx="8">
                  <c:v>595.60284409398002</c:v>
                </c:pt>
                <c:pt idx="9">
                  <c:v>608.987115765814</c:v>
                </c:pt>
                <c:pt idx="10">
                  <c:v>647.09932770335001</c:v>
                </c:pt>
                <c:pt idx="11">
                  <c:v>687.30739515385403</c:v>
                </c:pt>
                <c:pt idx="12">
                  <c:v>740.11593227584297</c:v>
                </c:pt>
                <c:pt idx="13">
                  <c:v>797.25964145945102</c:v>
                </c:pt>
                <c:pt idx="14">
                  <c:v>863.46459061547296</c:v>
                </c:pt>
                <c:pt idx="15">
                  <c:v>885.17341606771697</c:v>
                </c:pt>
                <c:pt idx="16">
                  <c:v>947.74798517074998</c:v>
                </c:pt>
                <c:pt idx="17">
                  <c:v>1034.24319381022</c:v>
                </c:pt>
              </c:numCache>
            </c:numRef>
          </c:xVal>
          <c:yVal>
            <c:numRef>
              <c:f>Sheet1!$O$49:$O$66</c:f>
              <c:numCache>
                <c:formatCode>General</c:formatCode>
                <c:ptCount val="18"/>
                <c:pt idx="0">
                  <c:v>15.899454558531525</c:v>
                </c:pt>
                <c:pt idx="1">
                  <c:v>16.210644833621132</c:v>
                </c:pt>
                <c:pt idx="2">
                  <c:v>16.801011342482312</c:v>
                </c:pt>
                <c:pt idx="3">
                  <c:v>17.03383011536333</c:v>
                </c:pt>
                <c:pt idx="4">
                  <c:v>17.391202285171168</c:v>
                </c:pt>
                <c:pt idx="5">
                  <c:v>17.509641409047997</c:v>
                </c:pt>
                <c:pt idx="6">
                  <c:v>18.278120893606644</c:v>
                </c:pt>
                <c:pt idx="7">
                  <c:v>18.331337582412107</c:v>
                </c:pt>
                <c:pt idx="8">
                  <c:v>18.320579178894089</c:v>
                </c:pt>
                <c:pt idx="9">
                  <c:v>18.532416536363161</c:v>
                </c:pt>
                <c:pt idx="10">
                  <c:v>18.701141592115984</c:v>
                </c:pt>
                <c:pt idx="11">
                  <c:v>19.531220820060756</c:v>
                </c:pt>
                <c:pt idx="12">
                  <c:v>19.993253246395991</c:v>
                </c:pt>
                <c:pt idx="13">
                  <c:v>20.715213428421997</c:v>
                </c:pt>
                <c:pt idx="14">
                  <c:v>21.588119114309556</c:v>
                </c:pt>
                <c:pt idx="15">
                  <c:v>22.27252130303054</c:v>
                </c:pt>
                <c:pt idx="16">
                  <c:v>23.707351105772904</c:v>
                </c:pt>
                <c:pt idx="17">
                  <c:v>24.009185225883677</c:v>
                </c:pt>
              </c:numCache>
            </c:numRef>
          </c:yVal>
          <c:smooth val="1"/>
        </c:ser>
        <c:ser>
          <c:idx val="10"/>
          <c:order val="10"/>
          <c:tx>
            <c:strRef>
              <c:f>Sheet1!$P$2</c:f>
              <c:strCache>
                <c:ptCount val="1"/>
                <c:pt idx="0">
                  <c:v>Irlanda</c:v>
                </c:pt>
              </c:strCache>
            </c:strRef>
          </c:tx>
          <c:spPr>
            <a:ln>
              <a:solidFill>
                <a:srgbClr val="FF00FF"/>
              </a:solidFill>
            </a:ln>
          </c:spPr>
          <c:marker>
            <c:symbol val="none"/>
          </c:marker>
          <c:xVal>
            <c:numRef>
              <c:f>Sheet1!$P$10:$P$22</c:f>
              <c:numCache>
                <c:formatCode>#,##0.00</c:formatCode>
                <c:ptCount val="13"/>
                <c:pt idx="0">
                  <c:v>41731.572454164503</c:v>
                </c:pt>
                <c:pt idx="1">
                  <c:v>43247.683665339697</c:v>
                </c:pt>
                <c:pt idx="2">
                  <c:v>44922.419839360198</c:v>
                </c:pt>
                <c:pt idx="3">
                  <c:v>45913.465047839898</c:v>
                </c:pt>
                <c:pt idx="4">
                  <c:v>47048.440618720102</c:v>
                </c:pt>
                <c:pt idx="5">
                  <c:v>48739.527182264799</c:v>
                </c:pt>
                <c:pt idx="6">
                  <c:v>50162.579792236102</c:v>
                </c:pt>
                <c:pt idx="7">
                  <c:v>51721.354606046203</c:v>
                </c:pt>
                <c:pt idx="8">
                  <c:v>49844.237725610401</c:v>
                </c:pt>
                <c:pt idx="9">
                  <c:v>46773.055665733002</c:v>
                </c:pt>
                <c:pt idx="10">
                  <c:v>46254.767511310398</c:v>
                </c:pt>
                <c:pt idx="11">
                  <c:v>45866.913215114</c:v>
                </c:pt>
                <c:pt idx="12">
                  <c:v>46175.520189719202</c:v>
                </c:pt>
              </c:numCache>
            </c:numRef>
          </c:xVal>
          <c:yVal>
            <c:numRef>
              <c:f>Sheet1!$P$49:$P$67</c:f>
              <c:numCache>
                <c:formatCode>General</c:formatCode>
                <c:ptCount val="19"/>
                <c:pt idx="0">
                  <c:v>117.76404731343311</c:v>
                </c:pt>
                <c:pt idx="1">
                  <c:v>123.09069392973659</c:v>
                </c:pt>
                <c:pt idx="2">
                  <c:v>123.14128317670119</c:v>
                </c:pt>
                <c:pt idx="3">
                  <c:v>131.06619966896818</c:v>
                </c:pt>
                <c:pt idx="4">
                  <c:v>135.97028317071346</c:v>
                </c:pt>
                <c:pt idx="5">
                  <c:v>143.36120006582252</c:v>
                </c:pt>
                <c:pt idx="6">
                  <c:v>148.15385326847147</c:v>
                </c:pt>
                <c:pt idx="7">
                  <c:v>150.78646088482927</c:v>
                </c:pt>
                <c:pt idx="8">
                  <c:v>156.61843883843935</c:v>
                </c:pt>
                <c:pt idx="9">
                  <c:v>154.81453795511797</c:v>
                </c:pt>
                <c:pt idx="10">
                  <c:v>150.27289099032507</c:v>
                </c:pt>
                <c:pt idx="11">
                  <c:v>149.9476889312144</c:v>
                </c:pt>
                <c:pt idx="12">
                  <c:v>145.38716015069252</c:v>
                </c:pt>
                <c:pt idx="13">
                  <c:v>144.78145056140073</c:v>
                </c:pt>
                <c:pt idx="14">
                  <c:v>144.71909540062214</c:v>
                </c:pt>
                <c:pt idx="15">
                  <c:v>141.214288929329</c:v>
                </c:pt>
                <c:pt idx="16">
                  <c:v>134.97273760967343</c:v>
                </c:pt>
                <c:pt idx="17">
                  <c:v>134.46056907077326</c:v>
                </c:pt>
                <c:pt idx="18">
                  <c:v>123.39667246199782</c:v>
                </c:pt>
              </c:numCache>
            </c:numRef>
          </c:yVal>
          <c:smooth val="1"/>
        </c:ser>
        <c:ser>
          <c:idx val="11"/>
          <c:order val="11"/>
          <c:tx>
            <c:strRef>
              <c:f>Sheet1!$Q$2</c:f>
              <c:strCache>
                <c:ptCount val="1"/>
                <c:pt idx="0">
                  <c:v>Japón</c:v>
                </c:pt>
              </c:strCache>
            </c:strRef>
          </c:tx>
          <c:spPr>
            <a:ln>
              <a:solidFill>
                <a:srgbClr val="0000FF"/>
              </a:solidFill>
            </a:ln>
          </c:spPr>
          <c:marker>
            <c:symbol val="none"/>
          </c:marker>
          <c:xVal>
            <c:numRef>
              <c:f>Sheet1!$Q$3:$Q$21</c:f>
              <c:numCache>
                <c:formatCode>#,##0.00</c:formatCode>
                <c:ptCount val="19"/>
                <c:pt idx="0">
                  <c:v>32269.8022225198</c:v>
                </c:pt>
                <c:pt idx="1">
                  <c:v>32437.777853089599</c:v>
                </c:pt>
                <c:pt idx="2">
                  <c:v>32941.822055275101</c:v>
                </c:pt>
                <c:pt idx="3">
                  <c:v>33715.075521859202</c:v>
                </c:pt>
                <c:pt idx="4">
                  <c:v>34163.397299052602</c:v>
                </c:pt>
                <c:pt idx="5">
                  <c:v>33394.568397413699</c:v>
                </c:pt>
                <c:pt idx="6">
                  <c:v>33264.844459552703</c:v>
                </c:pt>
                <c:pt idx="7">
                  <c:v>33956.811379505503</c:v>
                </c:pt>
                <c:pt idx="8">
                  <c:v>34002.739370345102</c:v>
                </c:pt>
                <c:pt idx="9">
                  <c:v>34021.991348071599</c:v>
                </c:pt>
                <c:pt idx="10">
                  <c:v>34521.351707024798</c:v>
                </c:pt>
                <c:pt idx="11">
                  <c:v>35324.414655040397</c:v>
                </c:pt>
                <c:pt idx="12">
                  <c:v>35781.234980593799</c:v>
                </c:pt>
                <c:pt idx="13">
                  <c:v>36391.818901673003</c:v>
                </c:pt>
                <c:pt idx="14">
                  <c:v>37185.3021364124</c:v>
                </c:pt>
                <c:pt idx="15">
                  <c:v>36817.189141162402</c:v>
                </c:pt>
                <c:pt idx="16">
                  <c:v>34822.145173152603</c:v>
                </c:pt>
                <c:pt idx="17">
                  <c:v>36472.8476753707</c:v>
                </c:pt>
                <c:pt idx="18">
                  <c:v>36160.761903766601</c:v>
                </c:pt>
              </c:numCache>
            </c:numRef>
          </c:xVal>
          <c:yVal>
            <c:numRef>
              <c:f>Sheet1!$Q$49:$Q$67</c:f>
              <c:numCache>
                <c:formatCode>General</c:formatCode>
                <c:ptCount val="19"/>
                <c:pt idx="0">
                  <c:v>153.53516976092502</c:v>
                </c:pt>
                <c:pt idx="1">
                  <c:v>161.61943144340469</c:v>
                </c:pt>
                <c:pt idx="2">
                  <c:v>165.3214847010903</c:v>
                </c:pt>
                <c:pt idx="3">
                  <c:v>168.49403946208673</c:v>
                </c:pt>
                <c:pt idx="4">
                  <c:v>169.8407005742838</c:v>
                </c:pt>
                <c:pt idx="5">
                  <c:v>166.3691575435227</c:v>
                </c:pt>
                <c:pt idx="6">
                  <c:v>169.05240607409795</c:v>
                </c:pt>
                <c:pt idx="7">
                  <c:v>170.93431361285906</c:v>
                </c:pt>
                <c:pt idx="8">
                  <c:v>167.87458290443504</c:v>
                </c:pt>
                <c:pt idx="9">
                  <c:v>167.35309640134668</c:v>
                </c:pt>
                <c:pt idx="10">
                  <c:v>165.63575137856708</c:v>
                </c:pt>
                <c:pt idx="11">
                  <c:v>170.89529207320845</c:v>
                </c:pt>
                <c:pt idx="12">
                  <c:v>170.24193128168164</c:v>
                </c:pt>
                <c:pt idx="13">
                  <c:v>170.0245999290097</c:v>
                </c:pt>
                <c:pt idx="14">
                  <c:v>168.49591401661687</c:v>
                </c:pt>
                <c:pt idx="15">
                  <c:v>162.0916426057851</c:v>
                </c:pt>
                <c:pt idx="16">
                  <c:v>154.66027914721386</c:v>
                </c:pt>
                <c:pt idx="17">
                  <c:v>162.90498274701505</c:v>
                </c:pt>
                <c:pt idx="18">
                  <c:v>149.7844027757705</c:v>
                </c:pt>
              </c:numCache>
            </c:numRef>
          </c:yVal>
          <c:smooth val="1"/>
        </c:ser>
        <c:ser>
          <c:idx val="12"/>
          <c:order val="12"/>
          <c:tx>
            <c:strRef>
              <c:f>Sheet1!$R$2</c:f>
              <c:strCache>
                <c:ptCount val="1"/>
                <c:pt idx="0">
                  <c:v>Malasia</c:v>
                </c:pt>
              </c:strCache>
            </c:strRef>
          </c:tx>
          <c:spPr>
            <a:ln>
              <a:solidFill>
                <a:schemeClr val="accent5">
                  <a:lumMod val="60000"/>
                  <a:lumOff val="40000"/>
                </a:schemeClr>
              </a:solidFill>
            </a:ln>
          </c:spPr>
          <c:marker>
            <c:symbol val="none"/>
          </c:marker>
          <c:xVal>
            <c:numRef>
              <c:f>Sheet1!$R$3:$R$21</c:f>
              <c:numCache>
                <c:formatCode>#,##0.00</c:formatCode>
                <c:ptCount val="19"/>
                <c:pt idx="0">
                  <c:v>3813.1890652443699</c:v>
                </c:pt>
                <c:pt idx="1">
                  <c:v>4060.3558306001501</c:v>
                </c:pt>
                <c:pt idx="2">
                  <c:v>4347.8159993045501</c:v>
                </c:pt>
                <c:pt idx="3">
                  <c:v>4662.4809899664897</c:v>
                </c:pt>
                <c:pt idx="4">
                  <c:v>4878.6080071709503</c:v>
                </c:pt>
                <c:pt idx="5">
                  <c:v>4408.5335609024296</c:v>
                </c:pt>
                <c:pt idx="6">
                  <c:v>4568.55344100404</c:v>
                </c:pt>
                <c:pt idx="7">
                  <c:v>4861.8575912666101</c:v>
                </c:pt>
                <c:pt idx="8">
                  <c:v>4783.8777335946797</c:v>
                </c:pt>
                <c:pt idx="9">
                  <c:v>4940.98653460478</c:v>
                </c:pt>
                <c:pt idx="10">
                  <c:v>5126.8559161185904</c:v>
                </c:pt>
                <c:pt idx="11">
                  <c:v>5372.2340834665802</c:v>
                </c:pt>
                <c:pt idx="12">
                  <c:v>5553.9435820831104</c:v>
                </c:pt>
                <c:pt idx="13">
                  <c:v>5756.3981859693504</c:v>
                </c:pt>
                <c:pt idx="14">
                  <c:v>6007.9104203165198</c:v>
                </c:pt>
                <c:pt idx="15">
                  <c:v>6185.5032901221202</c:v>
                </c:pt>
                <c:pt idx="16">
                  <c:v>5984.9152814921599</c:v>
                </c:pt>
                <c:pt idx="17">
                  <c:v>6302.9511360154602</c:v>
                </c:pt>
                <c:pt idx="18">
                  <c:v>6512.1310778366897</c:v>
                </c:pt>
              </c:numCache>
            </c:numRef>
          </c:xVal>
          <c:yVal>
            <c:numRef>
              <c:f>Sheet1!$R$49:$R$66</c:f>
              <c:numCache>
                <c:formatCode>General</c:formatCode>
                <c:ptCount val="18"/>
                <c:pt idx="0">
                  <c:v>66.862348690230348</c:v>
                </c:pt>
                <c:pt idx="1">
                  <c:v>64.898181272158595</c:v>
                </c:pt>
                <c:pt idx="2">
                  <c:v>68.314858824011111</c:v>
                </c:pt>
                <c:pt idx="3">
                  <c:v>73.565087079073976</c:v>
                </c:pt>
                <c:pt idx="4">
                  <c:v>83.089155990964997</c:v>
                </c:pt>
                <c:pt idx="5">
                  <c:v>76.850533591081842</c:v>
                </c:pt>
                <c:pt idx="6">
                  <c:v>75.713477790406571</c:v>
                </c:pt>
                <c:pt idx="7">
                  <c:v>84.054945883175961</c:v>
                </c:pt>
                <c:pt idx="8">
                  <c:v>86.027682544365376</c:v>
                </c:pt>
                <c:pt idx="9">
                  <c:v>87.310494154820589</c:v>
                </c:pt>
                <c:pt idx="10">
                  <c:v>91.697479891721784</c:v>
                </c:pt>
                <c:pt idx="11">
                  <c:v>96.690482649081133</c:v>
                </c:pt>
                <c:pt idx="12">
                  <c:v>102.68784327387317</c:v>
                </c:pt>
                <c:pt idx="13">
                  <c:v>101.13253383907403</c:v>
                </c:pt>
                <c:pt idx="14">
                  <c:v>109.04406103694197</c:v>
                </c:pt>
                <c:pt idx="15">
                  <c:v>111.74075826996142</c:v>
                </c:pt>
                <c:pt idx="16">
                  <c:v>105.04440150245111</c:v>
                </c:pt>
                <c:pt idx="17">
                  <c:v>107.36037948276802</c:v>
                </c:pt>
              </c:numCache>
            </c:numRef>
          </c:yVal>
          <c:smooth val="1"/>
        </c:ser>
        <c:ser>
          <c:idx val="13"/>
          <c:order val="13"/>
          <c:tx>
            <c:strRef>
              <c:f>Sheet1!$S$2</c:f>
              <c:strCache>
                <c:ptCount val="1"/>
                <c:pt idx="0">
                  <c:v>México</c:v>
                </c:pt>
              </c:strCache>
            </c:strRef>
          </c:tx>
          <c:spPr>
            <a:ln>
              <a:solidFill>
                <a:schemeClr val="tx1">
                  <a:lumMod val="50000"/>
                  <a:lumOff val="50000"/>
                </a:schemeClr>
              </a:solidFill>
            </a:ln>
          </c:spPr>
          <c:marker>
            <c:symbol val="none"/>
          </c:marker>
          <c:xVal>
            <c:numRef>
              <c:f>Sheet1!$S$3:$S$21</c:f>
              <c:numCache>
                <c:formatCode>#,##0.00</c:formatCode>
                <c:ptCount val="19"/>
                <c:pt idx="0">
                  <c:v>6617.20817303886</c:v>
                </c:pt>
                <c:pt idx="1">
                  <c:v>6772.7257292067297</c:v>
                </c:pt>
                <c:pt idx="2">
                  <c:v>6228.3473893996497</c:v>
                </c:pt>
                <c:pt idx="3">
                  <c:v>6426.6089397886899</c:v>
                </c:pt>
                <c:pt idx="4">
                  <c:v>6739.5292116072997</c:v>
                </c:pt>
                <c:pt idx="5">
                  <c:v>6950.0989432893202</c:v>
                </c:pt>
                <c:pt idx="6">
                  <c:v>7103.7256670317101</c:v>
                </c:pt>
                <c:pt idx="7">
                  <c:v>7459.2150139369496</c:v>
                </c:pt>
                <c:pt idx="8">
                  <c:v>7343.8402715572201</c:v>
                </c:pt>
                <c:pt idx="9">
                  <c:v>7308.5429149431402</c:v>
                </c:pt>
                <c:pt idx="10">
                  <c:v>7315.9660015722502</c:v>
                </c:pt>
                <c:pt idx="11">
                  <c:v>7520.28303081792</c:v>
                </c:pt>
                <c:pt idx="12">
                  <c:v>7666.6979609726404</c:v>
                </c:pt>
                <c:pt idx="13">
                  <c:v>7961.9681845817804</c:v>
                </c:pt>
                <c:pt idx="14">
                  <c:v>8119.2129890864899</c:v>
                </c:pt>
                <c:pt idx="15">
                  <c:v>8113.1021948008301</c:v>
                </c:pt>
                <c:pt idx="16">
                  <c:v>7534.7146641257405</c:v>
                </c:pt>
                <c:pt idx="17">
                  <c:v>7834.1439754103503</c:v>
                </c:pt>
                <c:pt idx="18">
                  <c:v>8038.1493498991003</c:v>
                </c:pt>
              </c:numCache>
            </c:numRef>
          </c:xVal>
          <c:yVal>
            <c:numRef>
              <c:f>Sheet1!$S$49:$S$67</c:f>
              <c:numCache>
                <c:formatCode>General</c:formatCode>
                <c:ptCount val="19"/>
                <c:pt idx="0">
                  <c:v>59.248502274721467</c:v>
                </c:pt>
                <c:pt idx="1">
                  <c:v>59.977692619806227</c:v>
                </c:pt>
                <c:pt idx="2">
                  <c:v>56.862304440908332</c:v>
                </c:pt>
                <c:pt idx="3">
                  <c:v>57.11379200473727</c:v>
                </c:pt>
                <c:pt idx="4">
                  <c:v>57.777909825951227</c:v>
                </c:pt>
                <c:pt idx="5">
                  <c:v>58.645748492118962</c:v>
                </c:pt>
                <c:pt idx="6">
                  <c:v>59.952738210066777</c:v>
                </c:pt>
                <c:pt idx="7">
                  <c:v>58.382590986774062</c:v>
                </c:pt>
                <c:pt idx="8">
                  <c:v>57.954486113448702</c:v>
                </c:pt>
                <c:pt idx="9">
                  <c:v>59.000438527878444</c:v>
                </c:pt>
                <c:pt idx="10">
                  <c:v>59.394998619800148</c:v>
                </c:pt>
                <c:pt idx="11">
                  <c:v>60.766144616662842</c:v>
                </c:pt>
                <c:pt idx="12">
                  <c:v>64.212683896992573</c:v>
                </c:pt>
                <c:pt idx="13">
                  <c:v>63.889048672091143</c:v>
                </c:pt>
                <c:pt idx="14">
                  <c:v>64.758741686668486</c:v>
                </c:pt>
                <c:pt idx="15">
                  <c:v>65.821158045509776</c:v>
                </c:pt>
                <c:pt idx="16">
                  <c:v>62.684027367228353</c:v>
                </c:pt>
                <c:pt idx="17">
                  <c:v>63.136924436984053</c:v>
                </c:pt>
                <c:pt idx="18">
                  <c:v>65.456836008768335</c:v>
                </c:pt>
              </c:numCache>
            </c:numRef>
          </c:yVal>
          <c:smooth val="1"/>
        </c:ser>
        <c:ser>
          <c:idx val="14"/>
          <c:order val="14"/>
          <c:tx>
            <c:strRef>
              <c:f>Sheet1!$T$2</c:f>
              <c:strCache>
                <c:ptCount val="1"/>
                <c:pt idx="0">
                  <c:v>Noruega</c:v>
                </c:pt>
              </c:strCache>
            </c:strRef>
          </c:tx>
          <c:spPr>
            <a:ln>
              <a:solidFill>
                <a:srgbClr val="FF6600"/>
              </a:solidFill>
            </a:ln>
          </c:spPr>
          <c:marker>
            <c:symbol val="none"/>
          </c:marker>
          <c:xVal>
            <c:numRef>
              <c:f>Sheet1!$T$3:$T$21</c:f>
              <c:numCache>
                <c:formatCode>#,##0.00</c:formatCode>
                <c:ptCount val="19"/>
                <c:pt idx="0">
                  <c:v>48228.218239725298</c:v>
                </c:pt>
                <c:pt idx="1">
                  <c:v>50376.773580402398</c:v>
                </c:pt>
                <c:pt idx="2">
                  <c:v>52213.956664897501</c:v>
                </c:pt>
                <c:pt idx="3">
                  <c:v>54599.2935062334</c:v>
                </c:pt>
                <c:pt idx="4">
                  <c:v>57232.458826748298</c:v>
                </c:pt>
                <c:pt idx="5">
                  <c:v>58419.023722920298</c:v>
                </c:pt>
                <c:pt idx="6">
                  <c:v>59195.694319614799</c:v>
                </c:pt>
                <c:pt idx="7">
                  <c:v>60726.2525932516</c:v>
                </c:pt>
                <c:pt idx="8">
                  <c:v>61622.1048542196</c:v>
                </c:pt>
                <c:pt idx="9">
                  <c:v>62211.322671674097</c:v>
                </c:pt>
                <c:pt idx="10">
                  <c:v>62454.150345064299</c:v>
                </c:pt>
                <c:pt idx="11">
                  <c:v>64545.430194404798</c:v>
                </c:pt>
                <c:pt idx="12">
                  <c:v>65767.019607604496</c:v>
                </c:pt>
                <c:pt idx="13">
                  <c:v>66739.177112836507</c:v>
                </c:pt>
                <c:pt idx="14">
                  <c:v>67804.545540440406</c:v>
                </c:pt>
                <c:pt idx="15">
                  <c:v>67009.968054900106</c:v>
                </c:pt>
                <c:pt idx="16">
                  <c:v>65088.386720259499</c:v>
                </c:pt>
                <c:pt idx="17">
                  <c:v>64589.974659965497</c:v>
                </c:pt>
                <c:pt idx="18">
                  <c:v>64533.989719893798</c:v>
                </c:pt>
              </c:numCache>
            </c:numRef>
          </c:xVal>
          <c:yVal>
            <c:numRef>
              <c:f>Sheet1!$T$49:$T$67</c:f>
              <c:numCache>
                <c:formatCode>General</c:formatCode>
                <c:ptCount val="19"/>
                <c:pt idx="0">
                  <c:v>227.46241939996497</c:v>
                </c:pt>
                <c:pt idx="1">
                  <c:v>221.4222931874921</c:v>
                </c:pt>
                <c:pt idx="2">
                  <c:v>224.69727924650178</c:v>
                </c:pt>
                <c:pt idx="3">
                  <c:v>216.74022348538196</c:v>
                </c:pt>
                <c:pt idx="4">
                  <c:v>228.22668050758287</c:v>
                </c:pt>
                <c:pt idx="5">
                  <c:v>236.87403808378659</c:v>
                </c:pt>
                <c:pt idx="6">
                  <c:v>246.41899680317422</c:v>
                </c:pt>
                <c:pt idx="7">
                  <c:v>242.77925572772418</c:v>
                </c:pt>
                <c:pt idx="8">
                  <c:v>248.32791678290349</c:v>
                </c:pt>
                <c:pt idx="9">
                  <c:v>229.39168573524179</c:v>
                </c:pt>
                <c:pt idx="10">
                  <c:v>247.34578969102935</c:v>
                </c:pt>
                <c:pt idx="11">
                  <c:v>240.55031273909344</c:v>
                </c:pt>
                <c:pt idx="12">
                  <c:v>241.86611126016984</c:v>
                </c:pt>
                <c:pt idx="13">
                  <c:v>243.10910651941785</c:v>
                </c:pt>
                <c:pt idx="14">
                  <c:v>244.43343805761228</c:v>
                </c:pt>
                <c:pt idx="15">
                  <c:v>261.17584575098527</c:v>
                </c:pt>
                <c:pt idx="16">
                  <c:v>243.6726516663567</c:v>
                </c:pt>
                <c:pt idx="17">
                  <c:v>277.36196344123908</c:v>
                </c:pt>
                <c:pt idx="18">
                  <c:v>252.04528526263397</c:v>
                </c:pt>
              </c:numCache>
            </c:numRef>
          </c:yVal>
          <c:smooth val="1"/>
        </c:ser>
        <c:ser>
          <c:idx val="15"/>
          <c:order val="15"/>
          <c:tx>
            <c:strRef>
              <c:f>Sheet1!$U$2</c:f>
              <c:strCache>
                <c:ptCount val="1"/>
                <c:pt idx="0">
                  <c:v>Reino Unido</c:v>
                </c:pt>
              </c:strCache>
            </c:strRef>
          </c:tx>
          <c:spPr>
            <a:ln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xVal>
            <c:numRef>
              <c:f>Sheet1!$U$3:$U$21</c:f>
              <c:numCache>
                <c:formatCode>#,##0.00</c:formatCode>
                <c:ptCount val="19"/>
                <c:pt idx="0">
                  <c:v>26723.319320631199</c:v>
                </c:pt>
                <c:pt idx="1">
                  <c:v>27875.2578239139</c:v>
                </c:pt>
                <c:pt idx="2">
                  <c:v>28685.539326375001</c:v>
                </c:pt>
                <c:pt idx="3">
                  <c:v>29503.466187571299</c:v>
                </c:pt>
                <c:pt idx="4">
                  <c:v>30563.5426043267</c:v>
                </c:pt>
                <c:pt idx="5">
                  <c:v>31545.687865001</c:v>
                </c:pt>
                <c:pt idx="6">
                  <c:v>32436.329261571598</c:v>
                </c:pt>
                <c:pt idx="7">
                  <c:v>33689.569682168898</c:v>
                </c:pt>
                <c:pt idx="8">
                  <c:v>34535.2997553565</c:v>
                </c:pt>
                <c:pt idx="9">
                  <c:v>35245.613800465697</c:v>
                </c:pt>
                <c:pt idx="10">
                  <c:v>36442.494432462401</c:v>
                </c:pt>
                <c:pt idx="11">
                  <c:v>37313.355778800898</c:v>
                </c:pt>
                <c:pt idx="12">
                  <c:v>38121.562978924601</c:v>
                </c:pt>
                <c:pt idx="13">
                  <c:v>38873.205984466098</c:v>
                </c:pt>
                <c:pt idx="14">
                  <c:v>40027.051956023002</c:v>
                </c:pt>
                <c:pt idx="15">
                  <c:v>39376.936044010799</c:v>
                </c:pt>
                <c:pt idx="16">
                  <c:v>37556.5274084056</c:v>
                </c:pt>
                <c:pt idx="17">
                  <c:v>37949.773736008799</c:v>
                </c:pt>
                <c:pt idx="18">
                  <c:v>38032.396708785003</c:v>
                </c:pt>
              </c:numCache>
            </c:numRef>
          </c:xVal>
          <c:yVal>
            <c:numRef>
              <c:f>Sheet1!$U$49:$U$67</c:f>
              <c:numCache>
                <c:formatCode>General</c:formatCode>
                <c:ptCount val="19"/>
                <c:pt idx="0">
                  <c:v>155.12420828074158</c:v>
                </c:pt>
                <c:pt idx="1">
                  <c:v>155.83231698456657</c:v>
                </c:pt>
                <c:pt idx="2">
                  <c:v>155.76316037201855</c:v>
                </c:pt>
                <c:pt idx="3">
                  <c:v>162.05614931690337</c:v>
                </c:pt>
                <c:pt idx="4">
                  <c:v>157.10920940726987</c:v>
                </c:pt>
                <c:pt idx="5">
                  <c:v>158.24520180415297</c:v>
                </c:pt>
                <c:pt idx="6">
                  <c:v>158.11544555900346</c:v>
                </c:pt>
                <c:pt idx="7">
                  <c:v>158.18738161788156</c:v>
                </c:pt>
                <c:pt idx="8">
                  <c:v>158.20044524879518</c:v>
                </c:pt>
                <c:pt idx="9">
                  <c:v>153.87308224985841</c:v>
                </c:pt>
                <c:pt idx="10">
                  <c:v>155.91582893949078</c:v>
                </c:pt>
                <c:pt idx="11">
                  <c:v>154.89242262885062</c:v>
                </c:pt>
                <c:pt idx="12">
                  <c:v>154.29375326259807</c:v>
                </c:pt>
                <c:pt idx="13">
                  <c:v>151.01710141011353</c:v>
                </c:pt>
                <c:pt idx="14">
                  <c:v>144.55486637139947</c:v>
                </c:pt>
                <c:pt idx="15">
                  <c:v>141.84359106985306</c:v>
                </c:pt>
                <c:pt idx="16">
                  <c:v>133.23346546953098</c:v>
                </c:pt>
                <c:pt idx="17">
                  <c:v>135.89477110413378</c:v>
                </c:pt>
                <c:pt idx="18">
                  <c:v>125.86112108924239</c:v>
                </c:pt>
              </c:numCache>
            </c:numRef>
          </c:yVal>
          <c:smooth val="1"/>
        </c:ser>
        <c:ser>
          <c:idx val="16"/>
          <c:order val="16"/>
          <c:tx>
            <c:strRef>
              <c:f>Sheet1!$V$2</c:f>
              <c:strCache>
                <c:ptCount val="1"/>
                <c:pt idx="0">
                  <c:v>Rusia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ymbol val="none"/>
          </c:marker>
          <c:xVal>
            <c:numRef>
              <c:f>Sheet1!$V$3:$V$20</c:f>
              <c:numCache>
                <c:formatCode>#,##0.00</c:formatCode>
                <c:ptCount val="18"/>
                <c:pt idx="0">
                  <c:v>4207.3093140332903</c:v>
                </c:pt>
                <c:pt idx="1">
                  <c:v>3683.0236625919201</c:v>
                </c:pt>
                <c:pt idx="2">
                  <c:v>3535.06366589134</c:v>
                </c:pt>
                <c:pt idx="3">
                  <c:v>3417.0740517654199</c:v>
                </c:pt>
                <c:pt idx="4">
                  <c:v>3475.1452423589599</c:v>
                </c:pt>
                <c:pt idx="5">
                  <c:v>3300.0357160843901</c:v>
                </c:pt>
                <c:pt idx="6">
                  <c:v>3525.39728412561</c:v>
                </c:pt>
                <c:pt idx="7">
                  <c:v>3878.0960497559699</c:v>
                </c:pt>
                <c:pt idx="8">
                  <c:v>4085.4371541733799</c:v>
                </c:pt>
                <c:pt idx="9">
                  <c:v>4298.3767880631503</c:v>
                </c:pt>
                <c:pt idx="10">
                  <c:v>4634.3142717789597</c:v>
                </c:pt>
                <c:pt idx="11">
                  <c:v>4992.7620763249397</c:v>
                </c:pt>
                <c:pt idx="12">
                  <c:v>5337.0653242094304</c:v>
                </c:pt>
                <c:pt idx="13">
                  <c:v>5798.5487362045496</c:v>
                </c:pt>
                <c:pt idx="14">
                  <c:v>6311.1751010329899</c:v>
                </c:pt>
                <c:pt idx="15">
                  <c:v>6649.4017105519797</c:v>
                </c:pt>
                <c:pt idx="16">
                  <c:v>6131.0873229848203</c:v>
                </c:pt>
                <c:pt idx="17">
                  <c:v>6385.6606505417003</c:v>
                </c:pt>
              </c:numCache>
            </c:numRef>
          </c:xVal>
          <c:yVal>
            <c:numRef>
              <c:f>Sheet1!$V$49:$V$66</c:f>
              <c:numCache>
                <c:formatCode>General</c:formatCode>
                <c:ptCount val="18"/>
                <c:pt idx="0">
                  <c:v>211.36021334160569</c:v>
                </c:pt>
                <c:pt idx="1">
                  <c:v>185.07428544880116</c:v>
                </c:pt>
                <c:pt idx="2">
                  <c:v>179.58672362262408</c:v>
                </c:pt>
                <c:pt idx="3">
                  <c:v>178.21934223221101</c:v>
                </c:pt>
                <c:pt idx="4">
                  <c:v>170.7722484457027</c:v>
                </c:pt>
                <c:pt idx="5">
                  <c:v>167.25246411501803</c:v>
                </c:pt>
                <c:pt idx="6">
                  <c:v>173.93565051112384</c:v>
                </c:pt>
                <c:pt idx="7">
                  <c:v>176.87819056565044</c:v>
                </c:pt>
                <c:pt idx="8">
                  <c:v>179.23902266806877</c:v>
                </c:pt>
                <c:pt idx="9">
                  <c:v>179.20191660512563</c:v>
                </c:pt>
                <c:pt idx="10">
                  <c:v>186.49258695790047</c:v>
                </c:pt>
                <c:pt idx="11">
                  <c:v>188.06588796627997</c:v>
                </c:pt>
                <c:pt idx="12">
                  <c:v>190.24592384037604</c:v>
                </c:pt>
                <c:pt idx="13">
                  <c:v>196.67405493747398</c:v>
                </c:pt>
                <c:pt idx="14">
                  <c:v>197.79167670800399</c:v>
                </c:pt>
                <c:pt idx="15">
                  <c:v>202.67906136600067</c:v>
                </c:pt>
                <c:pt idx="16">
                  <c:v>190.49582185810905</c:v>
                </c:pt>
                <c:pt idx="17">
                  <c:v>205.8812178046135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6003264"/>
        <c:axId val="185700512"/>
      </c:scatterChart>
      <c:valAx>
        <c:axId val="226003264"/>
        <c:scaling>
          <c:orientation val="minMax"/>
          <c:max val="7000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smtClean="0"/>
                  <a:t>PIB per capita, </a:t>
                </a:r>
                <a:r>
                  <a:rPr lang="en-US" b="0" i="1" dirty="0" smtClean="0"/>
                  <a:t>$2005 USD</a:t>
                </a:r>
                <a:endParaRPr lang="en-US" b="0" dirty="0"/>
              </a:p>
            </c:rich>
          </c:tx>
          <c:layout/>
          <c:overlay val="0"/>
        </c:title>
        <c:numFmt formatCode="#,##0" sourceLinked="0"/>
        <c:majorTickMark val="none"/>
        <c:minorTickMark val="none"/>
        <c:tickLblPos val="nextTo"/>
        <c:crossAx val="185700512"/>
        <c:crosses val="autoZero"/>
        <c:crossBetween val="midCat"/>
      </c:valAx>
      <c:valAx>
        <c:axId val="185700512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 err="1" smtClean="0"/>
                  <a:t>Consumo</a:t>
                </a:r>
                <a:r>
                  <a:rPr lang="en-US" dirty="0" smtClean="0"/>
                  <a:t> de Energía per</a:t>
                </a:r>
                <a:r>
                  <a:rPr lang="en-US" baseline="0" dirty="0" smtClean="0"/>
                  <a:t> capita, </a:t>
                </a:r>
                <a:r>
                  <a:rPr lang="en-US" b="0" i="1" baseline="0" dirty="0" smtClean="0"/>
                  <a:t>MMBtu</a:t>
                </a:r>
                <a:endParaRPr lang="en-US" dirty="0"/>
              </a:p>
            </c:rich>
          </c:tx>
          <c:layout/>
          <c:overlay val="0"/>
        </c:title>
        <c:numFmt formatCode="General" sourceLinked="1"/>
        <c:majorTickMark val="none"/>
        <c:minorTickMark val="none"/>
        <c:tickLblPos val="nextTo"/>
        <c:spPr>
          <a:ln>
            <a:noFill/>
          </a:ln>
        </c:spPr>
        <c:crossAx val="226003264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es-MX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lang="es-MX" noProof="0"/>
            </a:pPr>
            <a:r>
              <a:rPr lang="es-MX" noProof="0" dirty="0" smtClean="0"/>
              <a:t>Recursos de Gas</a:t>
            </a:r>
            <a:r>
              <a:rPr lang="es-MX" baseline="0" noProof="0" dirty="0" smtClean="0"/>
              <a:t> Shale Técnicamente Recuperables, </a:t>
            </a:r>
            <a:r>
              <a:rPr lang="es-MX" b="0" i="1" baseline="0" noProof="0" dirty="0" smtClean="0"/>
              <a:t>Tcf</a:t>
            </a:r>
            <a:endParaRPr lang="es-MX" noProof="0" dirty="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0000FF"/>
            </a:solidFill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</c:spPr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China</c:v>
                </c:pt>
                <c:pt idx="1">
                  <c:v>Argentina</c:v>
                </c:pt>
                <c:pt idx="2">
                  <c:v>Argelia</c:v>
                </c:pt>
                <c:pt idx="3">
                  <c:v>Canada</c:v>
                </c:pt>
                <c:pt idx="4">
                  <c:v>EE.UU.</c:v>
                </c:pt>
                <c:pt idx="5">
                  <c:v>Mexico</c:v>
                </c:pt>
                <c:pt idx="6">
                  <c:v>Europa</c:v>
                </c:pt>
                <c:pt idx="7">
                  <c:v>Australia</c:v>
                </c:pt>
                <c:pt idx="8">
                  <c:v>Brasil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115</c:v>
                </c:pt>
                <c:pt idx="1">
                  <c:v>802</c:v>
                </c:pt>
                <c:pt idx="2">
                  <c:v>707</c:v>
                </c:pt>
                <c:pt idx="3">
                  <c:v>573</c:v>
                </c:pt>
                <c:pt idx="4">
                  <c:v>567</c:v>
                </c:pt>
                <c:pt idx="5">
                  <c:v>545</c:v>
                </c:pt>
                <c:pt idx="6">
                  <c:v>470</c:v>
                </c:pt>
                <c:pt idx="7">
                  <c:v>437</c:v>
                </c:pt>
                <c:pt idx="8">
                  <c:v>24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185706672"/>
        <c:axId val="185706112"/>
      </c:barChart>
      <c:catAx>
        <c:axId val="1857066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es-MX"/>
          </a:p>
        </c:txPr>
        <c:crossAx val="185706112"/>
        <c:crosses val="autoZero"/>
        <c:auto val="1"/>
        <c:lblAlgn val="ctr"/>
        <c:lblOffset val="100"/>
        <c:noMultiLvlLbl val="0"/>
      </c:catAx>
      <c:valAx>
        <c:axId val="18570611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57066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Arial" pitchFamily="34" charset="0"/>
          <a:cs typeface="Arial" pitchFamily="34" charset="0"/>
        </a:defRPr>
      </a:pPr>
      <a:endParaRPr lang="es-MX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quested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 w="28575"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Ronda 0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requested</c:v>
                </c:pt>
              </c:strCache>
            </c:strRef>
          </c:tx>
          <c:spPr>
            <a:solidFill>
              <a:schemeClr val="bg1"/>
            </a:solidFill>
            <a:ln w="28575"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Ronda 0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225301856"/>
        <c:axId val="225302976"/>
      </c:barChart>
      <c:catAx>
        <c:axId val="22530185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25302976"/>
        <c:crosses val="autoZero"/>
        <c:auto val="1"/>
        <c:lblAlgn val="ctr"/>
        <c:lblOffset val="100"/>
        <c:noMultiLvlLbl val="0"/>
      </c:catAx>
      <c:valAx>
        <c:axId val="22530297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2253018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quested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 w="28575"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Ronda 0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7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requested</c:v>
                </c:pt>
              </c:strCache>
            </c:strRef>
          </c:tx>
          <c:spPr>
            <a:solidFill>
              <a:schemeClr val="bg1"/>
            </a:solidFill>
            <a:ln w="28575"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Ronda 0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2899999999999999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226200704"/>
        <c:axId val="226201264"/>
      </c:barChart>
      <c:catAx>
        <c:axId val="22620070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26201264"/>
        <c:crosses val="autoZero"/>
        <c:auto val="1"/>
        <c:lblAlgn val="ctr"/>
        <c:lblOffset val="100"/>
        <c:noMultiLvlLbl val="0"/>
      </c:catAx>
      <c:valAx>
        <c:axId val="22620126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2262007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quested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 w="28575"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Ronda 0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nrequested</c:v>
                </c:pt>
              </c:strCache>
            </c:strRef>
          </c:tx>
          <c:spPr>
            <a:solidFill>
              <a:schemeClr val="bg1"/>
            </a:solidFill>
            <a:ln w="28575"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</c:f>
              <c:strCache>
                <c:ptCount val="1"/>
                <c:pt idx="0">
                  <c:v>Ronda 0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6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100"/>
        <c:axId val="226204064"/>
        <c:axId val="226204624"/>
      </c:barChart>
      <c:catAx>
        <c:axId val="226204064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226204624"/>
        <c:crosses val="autoZero"/>
        <c:auto val="1"/>
        <c:lblAlgn val="ctr"/>
        <c:lblOffset val="100"/>
        <c:noMultiLvlLbl val="0"/>
      </c:catAx>
      <c:valAx>
        <c:axId val="226204624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2262040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4820" cy="461010"/>
          </a:xfrm>
          <a:prstGeom prst="rect">
            <a:avLst/>
          </a:prstGeom>
        </p:spPr>
        <p:txBody>
          <a:bodyPr vert="horz" lIns="92307" tIns="46153" rIns="92307" bIns="46153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7776" y="0"/>
            <a:ext cx="3004820" cy="461010"/>
          </a:xfrm>
          <a:prstGeom prst="rect">
            <a:avLst/>
          </a:prstGeom>
        </p:spPr>
        <p:txBody>
          <a:bodyPr vert="horz" lIns="92307" tIns="46153" rIns="92307" bIns="46153" rtlCol="0"/>
          <a:lstStyle>
            <a:lvl1pPr algn="r">
              <a:defRPr sz="1200"/>
            </a:lvl1pPr>
          </a:lstStyle>
          <a:p>
            <a:fld id="{2C81D7DA-BB44-4E5A-A4F0-F122B530DB82}" type="datetimeFigureOut">
              <a:rPr lang="es-MX" smtClean="0"/>
              <a:t>22/04/2015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692150"/>
            <a:ext cx="4610100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7" tIns="46153" rIns="92307" bIns="46153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3420" y="4379596"/>
            <a:ext cx="5547360" cy="4149090"/>
          </a:xfrm>
          <a:prstGeom prst="rect">
            <a:avLst/>
          </a:prstGeom>
        </p:spPr>
        <p:txBody>
          <a:bodyPr vert="horz" lIns="92307" tIns="46153" rIns="92307" bIns="4615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57590"/>
            <a:ext cx="3004820" cy="461010"/>
          </a:xfrm>
          <a:prstGeom prst="rect">
            <a:avLst/>
          </a:prstGeom>
        </p:spPr>
        <p:txBody>
          <a:bodyPr vert="horz" lIns="92307" tIns="46153" rIns="92307" bIns="46153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7776" y="8757590"/>
            <a:ext cx="3004820" cy="461010"/>
          </a:xfrm>
          <a:prstGeom prst="rect">
            <a:avLst/>
          </a:prstGeom>
        </p:spPr>
        <p:txBody>
          <a:bodyPr vert="horz" lIns="92307" tIns="46153" rIns="92307" bIns="46153" rtlCol="0" anchor="b"/>
          <a:lstStyle>
            <a:lvl1pPr algn="r">
              <a:defRPr sz="1200"/>
            </a:lvl1pPr>
          </a:lstStyle>
          <a:p>
            <a:fld id="{7355C3B9-5B73-4C33-AB3B-2CE723447AD8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771174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2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84275" y="698500"/>
            <a:ext cx="4654550" cy="3490913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6415" y="4421823"/>
            <a:ext cx="5150273" cy="4189095"/>
          </a:xfrm>
          <a:prstGeom prst="rect">
            <a:avLst/>
          </a:prstGeo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578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55C3B9-5B73-4C33-AB3B-2CE723447AD8}" type="slidenum">
              <a:rPr lang="es-MX" smtClean="0"/>
              <a:t>1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401553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5BAC4-2193-48DA-888B-0CF47AF164D3}" type="slidenum">
              <a:rPr lang="es-MX" smtClean="0">
                <a:solidFill>
                  <a:prstClr val="black"/>
                </a:solidFill>
              </a:rPr>
              <a:pPr/>
              <a:t>14</a:t>
            </a:fld>
            <a:endParaRPr lang="es-MX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0760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e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6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slideMaster" Target="../slideMasters/slideMaster4.xml"/><Relationship Id="rId5" Type="http://schemas.openxmlformats.org/officeDocument/2006/relationships/tags" Target="../tags/tag1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9512" y="6473229"/>
            <a:ext cx="1584176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A71FC4C-2E71-46BC-8239-C571B0D2F5EE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07704" y="6473229"/>
            <a:ext cx="468052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30888" y="6520259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1026BE51-0442-4230-8E70-9CC4EB548096}" type="slidenum">
              <a:rPr lang="es-MX" smtClean="0"/>
              <a:pPr/>
              <a:t>‹#›</a:t>
            </a:fld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427538" y="2852861"/>
            <a:ext cx="4464942" cy="50413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000" b="1">
                <a:solidFill>
                  <a:srgbClr val="F1AB00"/>
                </a:solidFill>
                <a:latin typeface="Arial Narrow"/>
                <a:cs typeface="Arial Narrow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427984" y="3429000"/>
            <a:ext cx="4464942" cy="50413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2600" b="0">
                <a:solidFill>
                  <a:schemeClr val="tx1">
                    <a:lumMod val="50000"/>
                    <a:lumOff val="50000"/>
                  </a:schemeClr>
                </a:solidFill>
                <a:latin typeface="Arial Narrow"/>
                <a:cs typeface="Arial Narrow"/>
              </a:defRPr>
            </a:lvl1pPr>
          </a:lstStyle>
          <a:p>
            <a:pPr lvl="0"/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57200" y="6309320"/>
            <a:ext cx="7787208" cy="34949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4" name="Rectangle 3"/>
          <p:cNvSpPr/>
          <p:nvPr/>
        </p:nvSpPr>
        <p:spPr>
          <a:xfrm>
            <a:off x="4355976" y="6597352"/>
            <a:ext cx="432048" cy="2606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009051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433B069-1CF7-471A-81DE-489656015145}" type="datetime1">
              <a:rPr lang="en-US" smtClean="0"/>
              <a:t>4/22/2015</a:t>
            </a:fld>
            <a:endParaRPr lang="es-MX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FAC2C48-5A8F-4E18-BC53-C28E8DB0C5CF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30096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8763"/>
            <a:ext cx="7086600" cy="731837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buNone/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35BE68-6B98-4B9E-9DB3-56F21498FBD5}" type="datetime1">
              <a:rPr lang="en-US" smtClean="0"/>
              <a:t>4/22/2015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67A88-2410-4536-B75E-CB964C399EF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185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6C79B1-066B-4B68-BCF4-F6C77F8DF3C9}" type="datetime1">
              <a:rPr lang="en-US" smtClean="0"/>
              <a:t>4/22/2015</a:t>
            </a:fld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551863" y="6569075"/>
            <a:ext cx="557212" cy="2444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7D7B07-47A9-41B5-8184-5DA007813D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0799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5_Title Only-Newp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6"/>
          <p:cNvSpPr>
            <a:spLocks noChangeArrowheads="1"/>
          </p:cNvSpPr>
          <p:nvPr userDrawn="1"/>
        </p:nvSpPr>
        <p:spPr bwMode="auto">
          <a:xfrm>
            <a:off x="-3175" y="44624"/>
            <a:ext cx="3960000" cy="2520000"/>
          </a:xfrm>
          <a:prstGeom prst="rect">
            <a:avLst/>
          </a:prstGeom>
          <a:solidFill>
            <a:srgbClr val="0A74D4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algn="l" defTabSz="914400" rtl="0" eaLnBrk="1" latinLnBrk="0" hangingPunct="1"/>
            <a:endParaRPr lang="es-MX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702" name="Rectangle 6"/>
          <p:cNvSpPr>
            <a:spLocks noChangeArrowheads="1"/>
          </p:cNvSpPr>
          <p:nvPr userDrawn="1"/>
        </p:nvSpPr>
        <p:spPr bwMode="auto">
          <a:xfrm>
            <a:off x="-3175" y="0"/>
            <a:ext cx="3960000" cy="2520000"/>
          </a:xfrm>
          <a:prstGeom prst="rect">
            <a:avLst/>
          </a:prstGeom>
          <a:solidFill>
            <a:srgbClr val="0858A2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algn="l" defTabSz="914400" rtl="0" eaLnBrk="1" latinLnBrk="0" hangingPunct="1"/>
            <a:endParaRPr lang="es-MX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49405" y="300995"/>
            <a:ext cx="3278458" cy="19180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s-MX" sz="240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MX" dirty="0"/>
          </a:p>
        </p:txBody>
      </p:sp>
      <p:sp>
        <p:nvSpPr>
          <p:cNvPr id="4" name="Footer Placeholder 3"/>
          <p:cNvSpPr>
            <a:spLocks noGrp="1"/>
          </p:cNvSpPr>
          <p:nvPr userDrawn="1"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s-MX" dirty="0"/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21472DF-6A55-4536-81D8-918B699CF287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7117045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19237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685800" y="2456280"/>
            <a:ext cx="7772400" cy="938535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s-MX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3568" y="3463185"/>
            <a:ext cx="7776864" cy="541879"/>
          </a:xfrm>
        </p:spPr>
        <p:txBody>
          <a:bodyPr anchor="t">
            <a:noAutofit/>
          </a:bodyPr>
          <a:lstStyle>
            <a:lvl1pPr marL="0" indent="0" algn="l">
              <a:buNone/>
              <a:defRPr sz="2800" b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467544" y="6296190"/>
            <a:ext cx="5552256" cy="365125"/>
          </a:xfrm>
          <a:prstGeom prst="rect">
            <a:avLst/>
          </a:prstGeom>
        </p:spPr>
        <p:txBody>
          <a:bodyPr/>
          <a:lstStyle/>
          <a:p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8172400" y="6309320"/>
            <a:ext cx="514400" cy="365125"/>
          </a:xfrm>
          <a:prstGeom prst="rect">
            <a:avLst/>
          </a:prstGeom>
        </p:spPr>
        <p:txBody>
          <a:bodyPr/>
          <a:lstStyle/>
          <a:p>
            <a:fld id="{D1D600A3-D9F2-4056-9748-6794C61DB87C}" type="slidenum">
              <a:rPr lang="es-MX" smtClean="0">
                <a:solidFill>
                  <a:prstClr val="black"/>
                </a:solidFill>
              </a:rPr>
              <a:pPr/>
              <a:t>‹#›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 userDrawn="1">
            <p:custDataLst>
              <p:tags r:id="rId7"/>
            </p:custDataLst>
          </p:nvPr>
        </p:nvSpPr>
        <p:spPr>
          <a:xfrm>
            <a:off x="0" y="1124744"/>
            <a:ext cx="9144000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8"/>
            </p:custDataLst>
          </p:nvPr>
        </p:nvSpPr>
        <p:spPr>
          <a:xfrm>
            <a:off x="0" y="6165304"/>
            <a:ext cx="9144000" cy="692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84213" y="4723804"/>
            <a:ext cx="7776219" cy="433388"/>
          </a:xfrm>
        </p:spPr>
        <p:txBody>
          <a:bodyPr anchor="t">
            <a:noAutofit/>
          </a:bodyPr>
          <a:lstStyle>
            <a:lvl1pPr>
              <a:defRPr sz="2000" baseline="0"/>
            </a:lvl1pPr>
          </a:lstStyle>
          <a:p>
            <a:pPr lvl="0"/>
            <a:r>
              <a:rPr lang="en-US" dirty="0" smtClean="0"/>
              <a:t>Date</a:t>
            </a:r>
            <a:endParaRPr lang="es-MX" dirty="0"/>
          </a:p>
        </p:txBody>
      </p:sp>
      <p:grpSp>
        <p:nvGrpSpPr>
          <p:cNvPr id="23" name="Group 2"/>
          <p:cNvGrpSpPr>
            <a:grpSpLocks/>
          </p:cNvGrpSpPr>
          <p:nvPr userDrawn="1">
            <p:custDataLst>
              <p:tags r:id="rId10"/>
            </p:custDataLst>
          </p:nvPr>
        </p:nvGrpSpPr>
        <p:grpSpPr bwMode="auto">
          <a:xfrm>
            <a:off x="711200" y="838200"/>
            <a:ext cx="2817330" cy="1318200"/>
            <a:chOff x="4857" y="4127"/>
            <a:chExt cx="363" cy="170"/>
          </a:xfrm>
        </p:grpSpPr>
        <p:sp>
          <p:nvSpPr>
            <p:cNvPr id="24" name="Freeform 3"/>
            <p:cNvSpPr>
              <a:spLocks/>
            </p:cNvSpPr>
            <p:nvPr userDrawn="1"/>
          </p:nvSpPr>
          <p:spPr bwMode="auto">
            <a:xfrm>
              <a:off x="5164" y="4127"/>
              <a:ext cx="56" cy="56"/>
            </a:xfrm>
            <a:custGeom>
              <a:avLst/>
              <a:gdLst/>
              <a:ahLst/>
              <a:cxnLst>
                <a:cxn ang="0">
                  <a:pos x="345" y="345"/>
                </a:cxn>
                <a:cxn ang="0">
                  <a:pos x="345" y="0"/>
                </a:cxn>
                <a:cxn ang="0">
                  <a:pos x="0" y="0"/>
                </a:cxn>
                <a:cxn ang="0">
                  <a:pos x="345" y="345"/>
                </a:cxn>
              </a:cxnLst>
              <a:rect l="0" t="0" r="r" b="b"/>
              <a:pathLst>
                <a:path w="345" h="345">
                  <a:moveTo>
                    <a:pt x="345" y="345"/>
                  </a:moveTo>
                  <a:lnTo>
                    <a:pt x="345" y="0"/>
                  </a:lnTo>
                  <a:lnTo>
                    <a:pt x="0" y="0"/>
                  </a:lnTo>
                  <a:lnTo>
                    <a:pt x="345" y="345"/>
                  </a:lnTo>
                  <a:close/>
                </a:path>
              </a:pathLst>
            </a:custGeom>
            <a:solidFill>
              <a:srgbClr val="F89E36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b="1" dirty="0">
                <a:solidFill>
                  <a:srgbClr val="000000"/>
                </a:solidFill>
              </a:endParaRPr>
            </a:p>
          </p:txBody>
        </p:sp>
        <p:grpSp>
          <p:nvGrpSpPr>
            <p:cNvPr id="25" name="Group 4"/>
            <p:cNvGrpSpPr>
              <a:grpSpLocks/>
            </p:cNvGrpSpPr>
            <p:nvPr userDrawn="1"/>
          </p:nvGrpSpPr>
          <p:grpSpPr bwMode="auto">
            <a:xfrm>
              <a:off x="4857" y="4127"/>
              <a:ext cx="335" cy="170"/>
              <a:chOff x="4830" y="4034"/>
              <a:chExt cx="419" cy="212"/>
            </a:xfrm>
          </p:grpSpPr>
          <p:sp>
            <p:nvSpPr>
              <p:cNvPr id="26" name="Freeform 5"/>
              <p:cNvSpPr>
                <a:spLocks noEditPoints="1"/>
              </p:cNvSpPr>
              <p:nvPr userDrawn="1"/>
            </p:nvSpPr>
            <p:spPr bwMode="auto">
              <a:xfrm>
                <a:off x="4830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7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6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4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6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6"/>
              <p:cNvSpPr>
                <a:spLocks/>
              </p:cNvSpPr>
              <p:nvPr userDrawn="1"/>
            </p:nvSpPr>
            <p:spPr bwMode="auto">
              <a:xfrm>
                <a:off x="4984" y="4034"/>
                <a:ext cx="35" cy="2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1" y="0"/>
                  </a:cxn>
                  <a:cxn ang="0">
                    <a:pos x="171" y="258"/>
                  </a:cxn>
                  <a:cxn ang="0">
                    <a:pos x="84" y="432"/>
                  </a:cxn>
                  <a:cxn ang="0">
                    <a:pos x="171" y="432"/>
                  </a:cxn>
                  <a:cxn ang="0">
                    <a:pos x="171" y="1037"/>
                  </a:cxn>
                  <a:cxn ang="0">
                    <a:pos x="0" y="1037"/>
                  </a:cxn>
                  <a:cxn ang="0">
                    <a:pos x="0" y="518"/>
                  </a:cxn>
                  <a:cxn ang="0">
                    <a:pos x="0" y="0"/>
                  </a:cxn>
                </a:cxnLst>
                <a:rect l="0" t="0" r="r" b="b"/>
                <a:pathLst>
                  <a:path w="171" h="1037">
                    <a:moveTo>
                      <a:pt x="0" y="0"/>
                    </a:moveTo>
                    <a:lnTo>
                      <a:pt x="171" y="0"/>
                    </a:lnTo>
                    <a:lnTo>
                      <a:pt x="171" y="258"/>
                    </a:lnTo>
                    <a:lnTo>
                      <a:pt x="84" y="432"/>
                    </a:lnTo>
                    <a:lnTo>
                      <a:pt x="171" y="432"/>
                    </a:lnTo>
                    <a:lnTo>
                      <a:pt x="171" y="1037"/>
                    </a:lnTo>
                    <a:lnTo>
                      <a:pt x="0" y="1037"/>
                    </a:lnTo>
                    <a:lnTo>
                      <a:pt x="0" y="5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7"/>
              <p:cNvSpPr>
                <a:spLocks/>
              </p:cNvSpPr>
              <p:nvPr userDrawn="1"/>
            </p:nvSpPr>
            <p:spPr bwMode="auto">
              <a:xfrm>
                <a:off x="5024" y="4034"/>
                <a:ext cx="105" cy="211"/>
              </a:xfrm>
              <a:custGeom>
                <a:avLst/>
                <a:gdLst/>
                <a:ahLst/>
                <a:cxnLst>
                  <a:cxn ang="0">
                    <a:pos x="0" y="432"/>
                  </a:cxn>
                  <a:cxn ang="0">
                    <a:pos x="150" y="302"/>
                  </a:cxn>
                  <a:cxn ang="0">
                    <a:pos x="150" y="236"/>
                  </a:cxn>
                  <a:cxn ang="0">
                    <a:pos x="152" y="210"/>
                  </a:cxn>
                  <a:cxn ang="0">
                    <a:pos x="155" y="185"/>
                  </a:cxn>
                  <a:cxn ang="0">
                    <a:pos x="160" y="161"/>
                  </a:cxn>
                  <a:cxn ang="0">
                    <a:pos x="167" y="138"/>
                  </a:cxn>
                  <a:cxn ang="0">
                    <a:pos x="175" y="117"/>
                  </a:cxn>
                  <a:cxn ang="0">
                    <a:pos x="186" y="97"/>
                  </a:cxn>
                  <a:cxn ang="0">
                    <a:pos x="199" y="79"/>
                  </a:cxn>
                  <a:cxn ang="0">
                    <a:pos x="214" y="62"/>
                  </a:cxn>
                  <a:cxn ang="0">
                    <a:pos x="226" y="51"/>
                  </a:cxn>
                  <a:cxn ang="0">
                    <a:pos x="240" y="41"/>
                  </a:cxn>
                  <a:cxn ang="0">
                    <a:pos x="261" y="29"/>
                  </a:cxn>
                  <a:cxn ang="0">
                    <a:pos x="284" y="18"/>
                  </a:cxn>
                  <a:cxn ang="0">
                    <a:pos x="310" y="10"/>
                  </a:cxn>
                  <a:cxn ang="0">
                    <a:pos x="339" y="5"/>
                  </a:cxn>
                  <a:cxn ang="0">
                    <a:pos x="370" y="1"/>
                  </a:cxn>
                  <a:cxn ang="0">
                    <a:pos x="404" y="0"/>
                  </a:cxn>
                  <a:cxn ang="0">
                    <a:pos x="433" y="1"/>
                  </a:cxn>
                  <a:cxn ang="0">
                    <a:pos x="459" y="3"/>
                  </a:cxn>
                  <a:cxn ang="0">
                    <a:pos x="485" y="7"/>
                  </a:cxn>
                  <a:cxn ang="0">
                    <a:pos x="512" y="14"/>
                  </a:cxn>
                  <a:cxn ang="0">
                    <a:pos x="504" y="140"/>
                  </a:cxn>
                  <a:cxn ang="0">
                    <a:pos x="484" y="135"/>
                  </a:cxn>
                  <a:cxn ang="0">
                    <a:pos x="460" y="131"/>
                  </a:cxn>
                  <a:cxn ang="0">
                    <a:pos x="432" y="129"/>
                  </a:cxn>
                  <a:cxn ang="0">
                    <a:pos x="406" y="130"/>
                  </a:cxn>
                  <a:cxn ang="0">
                    <a:pos x="389" y="133"/>
                  </a:cxn>
                  <a:cxn ang="0">
                    <a:pos x="375" y="138"/>
                  </a:cxn>
                  <a:cxn ang="0">
                    <a:pos x="363" y="146"/>
                  </a:cxn>
                  <a:cxn ang="0">
                    <a:pos x="353" y="156"/>
                  </a:cxn>
                  <a:cxn ang="0">
                    <a:pos x="343" y="173"/>
                  </a:cxn>
                  <a:cxn ang="0">
                    <a:pos x="335" y="193"/>
                  </a:cxn>
                  <a:cxn ang="0">
                    <a:pos x="329" y="216"/>
                  </a:cxn>
                  <a:cxn ang="0">
                    <a:pos x="326" y="242"/>
                  </a:cxn>
                  <a:cxn ang="0">
                    <a:pos x="325" y="303"/>
                  </a:cxn>
                  <a:cxn ang="0">
                    <a:pos x="411" y="432"/>
                  </a:cxn>
                  <a:cxn ang="0">
                    <a:pos x="325" y="1038"/>
                  </a:cxn>
                  <a:cxn ang="0">
                    <a:pos x="150" y="432"/>
                  </a:cxn>
                </a:cxnLst>
                <a:rect l="0" t="0" r="r" b="b"/>
                <a:pathLst>
                  <a:path w="512" h="1038">
                    <a:moveTo>
                      <a:pt x="150" y="432"/>
                    </a:moveTo>
                    <a:lnTo>
                      <a:pt x="0" y="432"/>
                    </a:lnTo>
                    <a:lnTo>
                      <a:pt x="65" y="302"/>
                    </a:lnTo>
                    <a:lnTo>
                      <a:pt x="150" y="302"/>
                    </a:lnTo>
                    <a:lnTo>
                      <a:pt x="150" y="250"/>
                    </a:lnTo>
                    <a:lnTo>
                      <a:pt x="150" y="236"/>
                    </a:lnTo>
                    <a:lnTo>
                      <a:pt x="151" y="223"/>
                    </a:lnTo>
                    <a:lnTo>
                      <a:pt x="152" y="210"/>
                    </a:lnTo>
                    <a:lnTo>
                      <a:pt x="153" y="197"/>
                    </a:lnTo>
                    <a:lnTo>
                      <a:pt x="155" y="185"/>
                    </a:lnTo>
                    <a:lnTo>
                      <a:pt x="157" y="173"/>
                    </a:lnTo>
                    <a:lnTo>
                      <a:pt x="160" y="161"/>
                    </a:lnTo>
                    <a:lnTo>
                      <a:pt x="163" y="149"/>
                    </a:lnTo>
                    <a:lnTo>
                      <a:pt x="167" y="138"/>
                    </a:lnTo>
                    <a:lnTo>
                      <a:pt x="171" y="127"/>
                    </a:lnTo>
                    <a:lnTo>
                      <a:pt x="175" y="117"/>
                    </a:lnTo>
                    <a:lnTo>
                      <a:pt x="180" y="107"/>
                    </a:lnTo>
                    <a:lnTo>
                      <a:pt x="186" y="97"/>
                    </a:lnTo>
                    <a:lnTo>
                      <a:pt x="192" y="88"/>
                    </a:lnTo>
                    <a:lnTo>
                      <a:pt x="199" y="79"/>
                    </a:lnTo>
                    <a:lnTo>
                      <a:pt x="206" y="70"/>
                    </a:lnTo>
                    <a:lnTo>
                      <a:pt x="214" y="62"/>
                    </a:lnTo>
                    <a:lnTo>
                      <a:pt x="222" y="55"/>
                    </a:lnTo>
                    <a:lnTo>
                      <a:pt x="226" y="51"/>
                    </a:lnTo>
                    <a:lnTo>
                      <a:pt x="231" y="47"/>
                    </a:lnTo>
                    <a:lnTo>
                      <a:pt x="240" y="41"/>
                    </a:lnTo>
                    <a:lnTo>
                      <a:pt x="250" y="34"/>
                    </a:lnTo>
                    <a:lnTo>
                      <a:pt x="261" y="29"/>
                    </a:lnTo>
                    <a:lnTo>
                      <a:pt x="273" y="23"/>
                    </a:lnTo>
                    <a:lnTo>
                      <a:pt x="284" y="18"/>
                    </a:lnTo>
                    <a:lnTo>
                      <a:pt x="297" y="14"/>
                    </a:lnTo>
                    <a:lnTo>
                      <a:pt x="310" y="10"/>
                    </a:lnTo>
                    <a:lnTo>
                      <a:pt x="324" y="7"/>
                    </a:lnTo>
                    <a:lnTo>
                      <a:pt x="339" y="5"/>
                    </a:lnTo>
                    <a:lnTo>
                      <a:pt x="354" y="3"/>
                    </a:lnTo>
                    <a:lnTo>
                      <a:pt x="370" y="1"/>
                    </a:lnTo>
                    <a:lnTo>
                      <a:pt x="387" y="0"/>
                    </a:lnTo>
                    <a:lnTo>
                      <a:pt x="404" y="0"/>
                    </a:lnTo>
                    <a:lnTo>
                      <a:pt x="419" y="0"/>
                    </a:lnTo>
                    <a:lnTo>
                      <a:pt x="433" y="1"/>
                    </a:lnTo>
                    <a:lnTo>
                      <a:pt x="447" y="2"/>
                    </a:lnTo>
                    <a:lnTo>
                      <a:pt x="459" y="3"/>
                    </a:lnTo>
                    <a:lnTo>
                      <a:pt x="472" y="5"/>
                    </a:lnTo>
                    <a:lnTo>
                      <a:pt x="485" y="7"/>
                    </a:lnTo>
                    <a:lnTo>
                      <a:pt x="498" y="10"/>
                    </a:lnTo>
                    <a:lnTo>
                      <a:pt x="512" y="14"/>
                    </a:lnTo>
                    <a:lnTo>
                      <a:pt x="512" y="143"/>
                    </a:lnTo>
                    <a:lnTo>
                      <a:pt x="504" y="140"/>
                    </a:lnTo>
                    <a:lnTo>
                      <a:pt x="495" y="138"/>
                    </a:lnTo>
                    <a:lnTo>
                      <a:pt x="484" y="135"/>
                    </a:lnTo>
                    <a:lnTo>
                      <a:pt x="472" y="133"/>
                    </a:lnTo>
                    <a:lnTo>
                      <a:pt x="460" y="131"/>
                    </a:lnTo>
                    <a:lnTo>
                      <a:pt x="446" y="130"/>
                    </a:lnTo>
                    <a:lnTo>
                      <a:pt x="432" y="129"/>
                    </a:lnTo>
                    <a:lnTo>
                      <a:pt x="418" y="129"/>
                    </a:lnTo>
                    <a:lnTo>
                      <a:pt x="406" y="130"/>
                    </a:lnTo>
                    <a:lnTo>
                      <a:pt x="395" y="131"/>
                    </a:lnTo>
                    <a:lnTo>
                      <a:pt x="389" y="133"/>
                    </a:lnTo>
                    <a:lnTo>
                      <a:pt x="384" y="134"/>
                    </a:lnTo>
                    <a:lnTo>
                      <a:pt x="375" y="138"/>
                    </a:lnTo>
                    <a:lnTo>
                      <a:pt x="367" y="143"/>
                    </a:lnTo>
                    <a:lnTo>
                      <a:pt x="363" y="146"/>
                    </a:lnTo>
                    <a:lnTo>
                      <a:pt x="360" y="149"/>
                    </a:lnTo>
                    <a:lnTo>
                      <a:pt x="353" y="156"/>
                    </a:lnTo>
                    <a:lnTo>
                      <a:pt x="347" y="164"/>
                    </a:lnTo>
                    <a:lnTo>
                      <a:pt x="343" y="173"/>
                    </a:lnTo>
                    <a:lnTo>
                      <a:pt x="338" y="183"/>
                    </a:lnTo>
                    <a:lnTo>
                      <a:pt x="335" y="193"/>
                    </a:lnTo>
                    <a:lnTo>
                      <a:pt x="332" y="204"/>
                    </a:lnTo>
                    <a:lnTo>
                      <a:pt x="329" y="216"/>
                    </a:lnTo>
                    <a:lnTo>
                      <a:pt x="327" y="229"/>
                    </a:lnTo>
                    <a:lnTo>
                      <a:pt x="326" y="242"/>
                    </a:lnTo>
                    <a:lnTo>
                      <a:pt x="325" y="256"/>
                    </a:lnTo>
                    <a:lnTo>
                      <a:pt x="325" y="303"/>
                    </a:lnTo>
                    <a:lnTo>
                      <a:pt x="476" y="303"/>
                    </a:lnTo>
                    <a:lnTo>
                      <a:pt x="411" y="432"/>
                    </a:lnTo>
                    <a:lnTo>
                      <a:pt x="325" y="432"/>
                    </a:lnTo>
                    <a:lnTo>
                      <a:pt x="325" y="1038"/>
                    </a:lnTo>
                    <a:lnTo>
                      <a:pt x="150" y="1038"/>
                    </a:lnTo>
                    <a:lnTo>
                      <a:pt x="150" y="432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8"/>
              <p:cNvSpPr>
                <a:spLocks noEditPoints="1"/>
              </p:cNvSpPr>
              <p:nvPr userDrawn="1"/>
            </p:nvSpPr>
            <p:spPr bwMode="auto">
              <a:xfrm>
                <a:off x="5124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6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5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3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5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55110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57200" y="6309320"/>
            <a:ext cx="7787208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737469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885889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228928"/>
            <a:ext cx="3885889" cy="3951288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9041" y="1535113"/>
            <a:ext cx="388741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2192832"/>
            <a:ext cx="38858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788024" y="2192832"/>
            <a:ext cx="38858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sz="half" idx="14"/>
          </p:nvPr>
        </p:nvSpPr>
        <p:spPr>
          <a:xfrm>
            <a:off x="4788024" y="2228928"/>
            <a:ext cx="3885889" cy="3951288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891199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2602632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2192832"/>
            <a:ext cx="260263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/>
          <p:cNvSpPr>
            <a:spLocks noGrp="1"/>
          </p:cNvSpPr>
          <p:nvPr>
            <p:ph type="body" idx="13"/>
          </p:nvPr>
        </p:nvSpPr>
        <p:spPr>
          <a:xfrm>
            <a:off x="3275856" y="1535113"/>
            <a:ext cx="2602632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3275856" y="2192832"/>
            <a:ext cx="260263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2"/>
          <p:cNvSpPr>
            <a:spLocks noGrp="1"/>
          </p:cNvSpPr>
          <p:nvPr>
            <p:ph type="body" idx="15"/>
          </p:nvPr>
        </p:nvSpPr>
        <p:spPr>
          <a:xfrm>
            <a:off x="6073824" y="1535113"/>
            <a:ext cx="2602632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6073824" y="2192832"/>
            <a:ext cx="260263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228928"/>
            <a:ext cx="2602632" cy="3951288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8"/>
          </p:nvPr>
        </p:nvSpPr>
        <p:spPr>
          <a:xfrm>
            <a:off x="3275856" y="2228928"/>
            <a:ext cx="2602632" cy="3951288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9"/>
          </p:nvPr>
        </p:nvSpPr>
        <p:spPr>
          <a:xfrm>
            <a:off x="6073824" y="2228928"/>
            <a:ext cx="2602632" cy="3951288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7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952314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12776"/>
            <a:ext cx="4040188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412776"/>
            <a:ext cx="4041775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1760785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644008" y="1760785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57200" y="3908991"/>
            <a:ext cx="4040188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645025" y="3908991"/>
            <a:ext cx="4041775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4257000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644008" y="4257000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60785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18"/>
          </p:nvPr>
        </p:nvSpPr>
        <p:spPr>
          <a:xfrm>
            <a:off x="4644008" y="1760785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19"/>
          </p:nvPr>
        </p:nvSpPr>
        <p:spPr>
          <a:xfrm>
            <a:off x="457200" y="4257000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4644008" y="4257000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253655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291264" cy="4713387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buClr>
                <a:srgbClr val="FFC000"/>
              </a:buClr>
              <a:defRPr sz="2400"/>
            </a:lvl2pPr>
            <a:lvl3pPr>
              <a:buClr>
                <a:srgbClr val="A7B137"/>
              </a:buClr>
              <a:defRPr sz="2200"/>
            </a:lvl3pPr>
            <a:lvl4pPr>
              <a:buClr>
                <a:srgbClr val="5780AE"/>
              </a:buClr>
              <a:defRPr/>
            </a:lvl4pPr>
            <a:lvl5pPr>
              <a:buClr>
                <a:srgbClr val="FFC000"/>
              </a:buCl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MX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32906" y="332656"/>
            <a:ext cx="6048672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rgbClr val="5780AE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241176" y="6545311"/>
            <a:ext cx="1522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4647111-78D8-4571-BA90-AA25093D9A89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7704" y="6545311"/>
            <a:ext cx="4680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rgbClr val="FF0000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58880" y="65453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3C0D95-9F8C-4642-8674-4A4C3D9E636D}" type="slidenum">
              <a:rPr lang="es-MX" smtClean="0"/>
              <a:pPr/>
              <a:t>‹#›</a:t>
            </a:fld>
            <a:endParaRPr lang="es-MX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521874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2403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3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685800" y="2456280"/>
            <a:ext cx="7772400" cy="938535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s-MX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683568" y="3463185"/>
            <a:ext cx="7776864" cy="541879"/>
          </a:xfrm>
        </p:spPr>
        <p:txBody>
          <a:bodyPr anchor="t">
            <a:noAutofit/>
          </a:bodyPr>
          <a:lstStyle>
            <a:lvl1pPr marL="0" indent="0" algn="l">
              <a:buNone/>
              <a:defRPr sz="2800" b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</a:t>
            </a:r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467544" y="6296190"/>
            <a:ext cx="5552256" cy="365125"/>
          </a:xfrm>
          <a:prstGeom prst="rect">
            <a:avLst/>
          </a:prstGeom>
        </p:spPr>
        <p:txBody>
          <a:bodyPr/>
          <a:lstStyle/>
          <a:p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>
          <a:xfrm>
            <a:off x="8172400" y="6309320"/>
            <a:ext cx="514400" cy="365125"/>
          </a:xfrm>
          <a:prstGeom prst="rect">
            <a:avLst/>
          </a:prstGeom>
        </p:spPr>
        <p:txBody>
          <a:bodyPr/>
          <a:lstStyle/>
          <a:p>
            <a:fld id="{D1D600A3-D9F2-4056-9748-6794C61DB87C}" type="slidenum">
              <a:rPr lang="es-MX" smtClean="0">
                <a:solidFill>
                  <a:prstClr val="black"/>
                </a:solidFill>
              </a:rPr>
              <a:pPr/>
              <a:t>‹#›</a:t>
            </a:fld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 userDrawn="1">
            <p:custDataLst>
              <p:tags r:id="rId7"/>
            </p:custDataLst>
          </p:nvPr>
        </p:nvSpPr>
        <p:spPr>
          <a:xfrm>
            <a:off x="0" y="1124744"/>
            <a:ext cx="9144000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8"/>
            </p:custDataLst>
          </p:nvPr>
        </p:nvSpPr>
        <p:spPr>
          <a:xfrm>
            <a:off x="0" y="6165304"/>
            <a:ext cx="9144000" cy="692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84213" y="4723804"/>
            <a:ext cx="7776219" cy="433388"/>
          </a:xfrm>
        </p:spPr>
        <p:txBody>
          <a:bodyPr anchor="t">
            <a:noAutofit/>
          </a:bodyPr>
          <a:lstStyle>
            <a:lvl1pPr>
              <a:defRPr sz="2000" baseline="0"/>
            </a:lvl1pPr>
          </a:lstStyle>
          <a:p>
            <a:pPr lvl="0"/>
            <a:r>
              <a:rPr lang="en-US" dirty="0" smtClean="0"/>
              <a:t>Date</a:t>
            </a:r>
            <a:endParaRPr lang="es-MX" dirty="0"/>
          </a:p>
        </p:txBody>
      </p:sp>
      <p:grpSp>
        <p:nvGrpSpPr>
          <p:cNvPr id="23" name="Group 2"/>
          <p:cNvGrpSpPr>
            <a:grpSpLocks/>
          </p:cNvGrpSpPr>
          <p:nvPr userDrawn="1">
            <p:custDataLst>
              <p:tags r:id="rId10"/>
            </p:custDataLst>
          </p:nvPr>
        </p:nvGrpSpPr>
        <p:grpSpPr bwMode="auto">
          <a:xfrm>
            <a:off x="711200" y="838200"/>
            <a:ext cx="2817330" cy="1318200"/>
            <a:chOff x="4857" y="4127"/>
            <a:chExt cx="363" cy="170"/>
          </a:xfrm>
        </p:grpSpPr>
        <p:sp>
          <p:nvSpPr>
            <p:cNvPr id="24" name="Freeform 3"/>
            <p:cNvSpPr>
              <a:spLocks/>
            </p:cNvSpPr>
            <p:nvPr userDrawn="1"/>
          </p:nvSpPr>
          <p:spPr bwMode="auto">
            <a:xfrm>
              <a:off x="5164" y="4127"/>
              <a:ext cx="56" cy="56"/>
            </a:xfrm>
            <a:custGeom>
              <a:avLst/>
              <a:gdLst/>
              <a:ahLst/>
              <a:cxnLst>
                <a:cxn ang="0">
                  <a:pos x="345" y="345"/>
                </a:cxn>
                <a:cxn ang="0">
                  <a:pos x="345" y="0"/>
                </a:cxn>
                <a:cxn ang="0">
                  <a:pos x="0" y="0"/>
                </a:cxn>
                <a:cxn ang="0">
                  <a:pos x="345" y="345"/>
                </a:cxn>
              </a:cxnLst>
              <a:rect l="0" t="0" r="r" b="b"/>
              <a:pathLst>
                <a:path w="345" h="345">
                  <a:moveTo>
                    <a:pt x="345" y="345"/>
                  </a:moveTo>
                  <a:lnTo>
                    <a:pt x="345" y="0"/>
                  </a:lnTo>
                  <a:lnTo>
                    <a:pt x="0" y="0"/>
                  </a:lnTo>
                  <a:lnTo>
                    <a:pt x="345" y="345"/>
                  </a:lnTo>
                  <a:close/>
                </a:path>
              </a:pathLst>
            </a:custGeom>
            <a:solidFill>
              <a:srgbClr val="F89E36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b="1" dirty="0">
                <a:solidFill>
                  <a:srgbClr val="000000"/>
                </a:solidFill>
              </a:endParaRPr>
            </a:p>
          </p:txBody>
        </p:sp>
        <p:grpSp>
          <p:nvGrpSpPr>
            <p:cNvPr id="25" name="Group 4"/>
            <p:cNvGrpSpPr>
              <a:grpSpLocks/>
            </p:cNvGrpSpPr>
            <p:nvPr userDrawn="1"/>
          </p:nvGrpSpPr>
          <p:grpSpPr bwMode="auto">
            <a:xfrm>
              <a:off x="4857" y="4127"/>
              <a:ext cx="335" cy="170"/>
              <a:chOff x="4830" y="4034"/>
              <a:chExt cx="419" cy="212"/>
            </a:xfrm>
          </p:grpSpPr>
          <p:sp>
            <p:nvSpPr>
              <p:cNvPr id="26" name="Freeform 5"/>
              <p:cNvSpPr>
                <a:spLocks noEditPoints="1"/>
              </p:cNvSpPr>
              <p:nvPr userDrawn="1"/>
            </p:nvSpPr>
            <p:spPr bwMode="auto">
              <a:xfrm>
                <a:off x="4830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7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6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4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6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 6"/>
              <p:cNvSpPr>
                <a:spLocks/>
              </p:cNvSpPr>
              <p:nvPr userDrawn="1"/>
            </p:nvSpPr>
            <p:spPr bwMode="auto">
              <a:xfrm>
                <a:off x="4984" y="4034"/>
                <a:ext cx="35" cy="2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1" y="0"/>
                  </a:cxn>
                  <a:cxn ang="0">
                    <a:pos x="171" y="258"/>
                  </a:cxn>
                  <a:cxn ang="0">
                    <a:pos x="84" y="432"/>
                  </a:cxn>
                  <a:cxn ang="0">
                    <a:pos x="171" y="432"/>
                  </a:cxn>
                  <a:cxn ang="0">
                    <a:pos x="171" y="1037"/>
                  </a:cxn>
                  <a:cxn ang="0">
                    <a:pos x="0" y="1037"/>
                  </a:cxn>
                  <a:cxn ang="0">
                    <a:pos x="0" y="518"/>
                  </a:cxn>
                  <a:cxn ang="0">
                    <a:pos x="0" y="0"/>
                  </a:cxn>
                </a:cxnLst>
                <a:rect l="0" t="0" r="r" b="b"/>
                <a:pathLst>
                  <a:path w="171" h="1037">
                    <a:moveTo>
                      <a:pt x="0" y="0"/>
                    </a:moveTo>
                    <a:lnTo>
                      <a:pt x="171" y="0"/>
                    </a:lnTo>
                    <a:lnTo>
                      <a:pt x="171" y="258"/>
                    </a:lnTo>
                    <a:lnTo>
                      <a:pt x="84" y="432"/>
                    </a:lnTo>
                    <a:lnTo>
                      <a:pt x="171" y="432"/>
                    </a:lnTo>
                    <a:lnTo>
                      <a:pt x="171" y="1037"/>
                    </a:lnTo>
                    <a:lnTo>
                      <a:pt x="0" y="1037"/>
                    </a:lnTo>
                    <a:lnTo>
                      <a:pt x="0" y="5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 7"/>
              <p:cNvSpPr>
                <a:spLocks/>
              </p:cNvSpPr>
              <p:nvPr userDrawn="1"/>
            </p:nvSpPr>
            <p:spPr bwMode="auto">
              <a:xfrm>
                <a:off x="5024" y="4034"/>
                <a:ext cx="105" cy="211"/>
              </a:xfrm>
              <a:custGeom>
                <a:avLst/>
                <a:gdLst/>
                <a:ahLst/>
                <a:cxnLst>
                  <a:cxn ang="0">
                    <a:pos x="0" y="432"/>
                  </a:cxn>
                  <a:cxn ang="0">
                    <a:pos x="150" y="302"/>
                  </a:cxn>
                  <a:cxn ang="0">
                    <a:pos x="150" y="236"/>
                  </a:cxn>
                  <a:cxn ang="0">
                    <a:pos x="152" y="210"/>
                  </a:cxn>
                  <a:cxn ang="0">
                    <a:pos x="155" y="185"/>
                  </a:cxn>
                  <a:cxn ang="0">
                    <a:pos x="160" y="161"/>
                  </a:cxn>
                  <a:cxn ang="0">
                    <a:pos x="167" y="138"/>
                  </a:cxn>
                  <a:cxn ang="0">
                    <a:pos x="175" y="117"/>
                  </a:cxn>
                  <a:cxn ang="0">
                    <a:pos x="186" y="97"/>
                  </a:cxn>
                  <a:cxn ang="0">
                    <a:pos x="199" y="79"/>
                  </a:cxn>
                  <a:cxn ang="0">
                    <a:pos x="214" y="62"/>
                  </a:cxn>
                  <a:cxn ang="0">
                    <a:pos x="226" y="51"/>
                  </a:cxn>
                  <a:cxn ang="0">
                    <a:pos x="240" y="41"/>
                  </a:cxn>
                  <a:cxn ang="0">
                    <a:pos x="261" y="29"/>
                  </a:cxn>
                  <a:cxn ang="0">
                    <a:pos x="284" y="18"/>
                  </a:cxn>
                  <a:cxn ang="0">
                    <a:pos x="310" y="10"/>
                  </a:cxn>
                  <a:cxn ang="0">
                    <a:pos x="339" y="5"/>
                  </a:cxn>
                  <a:cxn ang="0">
                    <a:pos x="370" y="1"/>
                  </a:cxn>
                  <a:cxn ang="0">
                    <a:pos x="404" y="0"/>
                  </a:cxn>
                  <a:cxn ang="0">
                    <a:pos x="433" y="1"/>
                  </a:cxn>
                  <a:cxn ang="0">
                    <a:pos x="459" y="3"/>
                  </a:cxn>
                  <a:cxn ang="0">
                    <a:pos x="485" y="7"/>
                  </a:cxn>
                  <a:cxn ang="0">
                    <a:pos x="512" y="14"/>
                  </a:cxn>
                  <a:cxn ang="0">
                    <a:pos x="504" y="140"/>
                  </a:cxn>
                  <a:cxn ang="0">
                    <a:pos x="484" y="135"/>
                  </a:cxn>
                  <a:cxn ang="0">
                    <a:pos x="460" y="131"/>
                  </a:cxn>
                  <a:cxn ang="0">
                    <a:pos x="432" y="129"/>
                  </a:cxn>
                  <a:cxn ang="0">
                    <a:pos x="406" y="130"/>
                  </a:cxn>
                  <a:cxn ang="0">
                    <a:pos x="389" y="133"/>
                  </a:cxn>
                  <a:cxn ang="0">
                    <a:pos x="375" y="138"/>
                  </a:cxn>
                  <a:cxn ang="0">
                    <a:pos x="363" y="146"/>
                  </a:cxn>
                  <a:cxn ang="0">
                    <a:pos x="353" y="156"/>
                  </a:cxn>
                  <a:cxn ang="0">
                    <a:pos x="343" y="173"/>
                  </a:cxn>
                  <a:cxn ang="0">
                    <a:pos x="335" y="193"/>
                  </a:cxn>
                  <a:cxn ang="0">
                    <a:pos x="329" y="216"/>
                  </a:cxn>
                  <a:cxn ang="0">
                    <a:pos x="326" y="242"/>
                  </a:cxn>
                  <a:cxn ang="0">
                    <a:pos x="325" y="303"/>
                  </a:cxn>
                  <a:cxn ang="0">
                    <a:pos x="411" y="432"/>
                  </a:cxn>
                  <a:cxn ang="0">
                    <a:pos x="325" y="1038"/>
                  </a:cxn>
                  <a:cxn ang="0">
                    <a:pos x="150" y="432"/>
                  </a:cxn>
                </a:cxnLst>
                <a:rect l="0" t="0" r="r" b="b"/>
                <a:pathLst>
                  <a:path w="512" h="1038">
                    <a:moveTo>
                      <a:pt x="150" y="432"/>
                    </a:moveTo>
                    <a:lnTo>
                      <a:pt x="0" y="432"/>
                    </a:lnTo>
                    <a:lnTo>
                      <a:pt x="65" y="302"/>
                    </a:lnTo>
                    <a:lnTo>
                      <a:pt x="150" y="302"/>
                    </a:lnTo>
                    <a:lnTo>
                      <a:pt x="150" y="250"/>
                    </a:lnTo>
                    <a:lnTo>
                      <a:pt x="150" y="236"/>
                    </a:lnTo>
                    <a:lnTo>
                      <a:pt x="151" y="223"/>
                    </a:lnTo>
                    <a:lnTo>
                      <a:pt x="152" y="210"/>
                    </a:lnTo>
                    <a:lnTo>
                      <a:pt x="153" y="197"/>
                    </a:lnTo>
                    <a:lnTo>
                      <a:pt x="155" y="185"/>
                    </a:lnTo>
                    <a:lnTo>
                      <a:pt x="157" y="173"/>
                    </a:lnTo>
                    <a:lnTo>
                      <a:pt x="160" y="161"/>
                    </a:lnTo>
                    <a:lnTo>
                      <a:pt x="163" y="149"/>
                    </a:lnTo>
                    <a:lnTo>
                      <a:pt x="167" y="138"/>
                    </a:lnTo>
                    <a:lnTo>
                      <a:pt x="171" y="127"/>
                    </a:lnTo>
                    <a:lnTo>
                      <a:pt x="175" y="117"/>
                    </a:lnTo>
                    <a:lnTo>
                      <a:pt x="180" y="107"/>
                    </a:lnTo>
                    <a:lnTo>
                      <a:pt x="186" y="97"/>
                    </a:lnTo>
                    <a:lnTo>
                      <a:pt x="192" y="88"/>
                    </a:lnTo>
                    <a:lnTo>
                      <a:pt x="199" y="79"/>
                    </a:lnTo>
                    <a:lnTo>
                      <a:pt x="206" y="70"/>
                    </a:lnTo>
                    <a:lnTo>
                      <a:pt x="214" y="62"/>
                    </a:lnTo>
                    <a:lnTo>
                      <a:pt x="222" y="55"/>
                    </a:lnTo>
                    <a:lnTo>
                      <a:pt x="226" y="51"/>
                    </a:lnTo>
                    <a:lnTo>
                      <a:pt x="231" y="47"/>
                    </a:lnTo>
                    <a:lnTo>
                      <a:pt x="240" y="41"/>
                    </a:lnTo>
                    <a:lnTo>
                      <a:pt x="250" y="34"/>
                    </a:lnTo>
                    <a:lnTo>
                      <a:pt x="261" y="29"/>
                    </a:lnTo>
                    <a:lnTo>
                      <a:pt x="273" y="23"/>
                    </a:lnTo>
                    <a:lnTo>
                      <a:pt x="284" y="18"/>
                    </a:lnTo>
                    <a:lnTo>
                      <a:pt x="297" y="14"/>
                    </a:lnTo>
                    <a:lnTo>
                      <a:pt x="310" y="10"/>
                    </a:lnTo>
                    <a:lnTo>
                      <a:pt x="324" y="7"/>
                    </a:lnTo>
                    <a:lnTo>
                      <a:pt x="339" y="5"/>
                    </a:lnTo>
                    <a:lnTo>
                      <a:pt x="354" y="3"/>
                    </a:lnTo>
                    <a:lnTo>
                      <a:pt x="370" y="1"/>
                    </a:lnTo>
                    <a:lnTo>
                      <a:pt x="387" y="0"/>
                    </a:lnTo>
                    <a:lnTo>
                      <a:pt x="404" y="0"/>
                    </a:lnTo>
                    <a:lnTo>
                      <a:pt x="419" y="0"/>
                    </a:lnTo>
                    <a:lnTo>
                      <a:pt x="433" y="1"/>
                    </a:lnTo>
                    <a:lnTo>
                      <a:pt x="447" y="2"/>
                    </a:lnTo>
                    <a:lnTo>
                      <a:pt x="459" y="3"/>
                    </a:lnTo>
                    <a:lnTo>
                      <a:pt x="472" y="5"/>
                    </a:lnTo>
                    <a:lnTo>
                      <a:pt x="485" y="7"/>
                    </a:lnTo>
                    <a:lnTo>
                      <a:pt x="498" y="10"/>
                    </a:lnTo>
                    <a:lnTo>
                      <a:pt x="512" y="14"/>
                    </a:lnTo>
                    <a:lnTo>
                      <a:pt x="512" y="143"/>
                    </a:lnTo>
                    <a:lnTo>
                      <a:pt x="504" y="140"/>
                    </a:lnTo>
                    <a:lnTo>
                      <a:pt x="495" y="138"/>
                    </a:lnTo>
                    <a:lnTo>
                      <a:pt x="484" y="135"/>
                    </a:lnTo>
                    <a:lnTo>
                      <a:pt x="472" y="133"/>
                    </a:lnTo>
                    <a:lnTo>
                      <a:pt x="460" y="131"/>
                    </a:lnTo>
                    <a:lnTo>
                      <a:pt x="446" y="130"/>
                    </a:lnTo>
                    <a:lnTo>
                      <a:pt x="432" y="129"/>
                    </a:lnTo>
                    <a:lnTo>
                      <a:pt x="418" y="129"/>
                    </a:lnTo>
                    <a:lnTo>
                      <a:pt x="406" y="130"/>
                    </a:lnTo>
                    <a:lnTo>
                      <a:pt x="395" y="131"/>
                    </a:lnTo>
                    <a:lnTo>
                      <a:pt x="389" y="133"/>
                    </a:lnTo>
                    <a:lnTo>
                      <a:pt x="384" y="134"/>
                    </a:lnTo>
                    <a:lnTo>
                      <a:pt x="375" y="138"/>
                    </a:lnTo>
                    <a:lnTo>
                      <a:pt x="367" y="143"/>
                    </a:lnTo>
                    <a:lnTo>
                      <a:pt x="363" y="146"/>
                    </a:lnTo>
                    <a:lnTo>
                      <a:pt x="360" y="149"/>
                    </a:lnTo>
                    <a:lnTo>
                      <a:pt x="353" y="156"/>
                    </a:lnTo>
                    <a:lnTo>
                      <a:pt x="347" y="164"/>
                    </a:lnTo>
                    <a:lnTo>
                      <a:pt x="343" y="173"/>
                    </a:lnTo>
                    <a:lnTo>
                      <a:pt x="338" y="183"/>
                    </a:lnTo>
                    <a:lnTo>
                      <a:pt x="335" y="193"/>
                    </a:lnTo>
                    <a:lnTo>
                      <a:pt x="332" y="204"/>
                    </a:lnTo>
                    <a:lnTo>
                      <a:pt x="329" y="216"/>
                    </a:lnTo>
                    <a:lnTo>
                      <a:pt x="327" y="229"/>
                    </a:lnTo>
                    <a:lnTo>
                      <a:pt x="326" y="242"/>
                    </a:lnTo>
                    <a:lnTo>
                      <a:pt x="325" y="256"/>
                    </a:lnTo>
                    <a:lnTo>
                      <a:pt x="325" y="303"/>
                    </a:lnTo>
                    <a:lnTo>
                      <a:pt x="476" y="303"/>
                    </a:lnTo>
                    <a:lnTo>
                      <a:pt x="411" y="432"/>
                    </a:lnTo>
                    <a:lnTo>
                      <a:pt x="325" y="432"/>
                    </a:lnTo>
                    <a:lnTo>
                      <a:pt x="325" y="1038"/>
                    </a:lnTo>
                    <a:lnTo>
                      <a:pt x="150" y="1038"/>
                    </a:lnTo>
                    <a:lnTo>
                      <a:pt x="150" y="432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8"/>
              <p:cNvSpPr>
                <a:spLocks noEditPoints="1"/>
              </p:cNvSpPr>
              <p:nvPr userDrawn="1"/>
            </p:nvSpPr>
            <p:spPr bwMode="auto">
              <a:xfrm>
                <a:off x="5124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6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5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3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5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79290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s-MX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57200" y="6309320"/>
            <a:ext cx="7787208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601582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885889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228928"/>
            <a:ext cx="3885889" cy="3951288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9041" y="1535113"/>
            <a:ext cx="3887415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2192832"/>
            <a:ext cx="38858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788024" y="2192832"/>
            <a:ext cx="3885889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sz="half" idx="14"/>
          </p:nvPr>
        </p:nvSpPr>
        <p:spPr>
          <a:xfrm>
            <a:off x="4788024" y="2228928"/>
            <a:ext cx="3885889" cy="3951288"/>
          </a:xfrm>
        </p:spPr>
        <p:txBody>
          <a:bodyPr>
            <a:no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5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214312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2602632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2192832"/>
            <a:ext cx="260263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/>
          <p:cNvSpPr>
            <a:spLocks noGrp="1"/>
          </p:cNvSpPr>
          <p:nvPr>
            <p:ph type="body" idx="13"/>
          </p:nvPr>
        </p:nvSpPr>
        <p:spPr>
          <a:xfrm>
            <a:off x="3275856" y="1535113"/>
            <a:ext cx="2602632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32" name="Straight Connector 31"/>
          <p:cNvCxnSpPr/>
          <p:nvPr userDrawn="1"/>
        </p:nvCxnSpPr>
        <p:spPr>
          <a:xfrm>
            <a:off x="3275856" y="2192832"/>
            <a:ext cx="260263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2"/>
          <p:cNvSpPr>
            <a:spLocks noGrp="1"/>
          </p:cNvSpPr>
          <p:nvPr>
            <p:ph type="body" idx="15"/>
          </p:nvPr>
        </p:nvSpPr>
        <p:spPr>
          <a:xfrm>
            <a:off x="6073824" y="1535113"/>
            <a:ext cx="2602632" cy="639762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6073824" y="2192832"/>
            <a:ext cx="260263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228928"/>
            <a:ext cx="2602632" cy="3951288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8"/>
          </p:nvPr>
        </p:nvSpPr>
        <p:spPr>
          <a:xfrm>
            <a:off x="3275856" y="2228928"/>
            <a:ext cx="2602632" cy="3951288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9"/>
          </p:nvPr>
        </p:nvSpPr>
        <p:spPr>
          <a:xfrm>
            <a:off x="6073824" y="2228928"/>
            <a:ext cx="2602632" cy="3951288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17" name="Content Placeholder 2"/>
          <p:cNvSpPr>
            <a:spLocks noGrp="1"/>
          </p:cNvSpPr>
          <p:nvPr>
            <p:ph idx="20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28782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12776"/>
            <a:ext cx="4040188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412776"/>
            <a:ext cx="4041775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1760785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644008" y="1760785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457200" y="3908991"/>
            <a:ext cx="4040188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645025" y="3908991"/>
            <a:ext cx="4041775" cy="330051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57200" y="4257000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644008" y="4257000"/>
            <a:ext cx="404018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60785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18"/>
          </p:nvPr>
        </p:nvSpPr>
        <p:spPr>
          <a:xfrm>
            <a:off x="4644008" y="1760785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19"/>
          </p:nvPr>
        </p:nvSpPr>
        <p:spPr>
          <a:xfrm>
            <a:off x="457200" y="4257000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4644008" y="4257000"/>
            <a:ext cx="4040188" cy="2028255"/>
          </a:xfrm>
        </p:spPr>
        <p:txBody>
          <a:bodyPr>
            <a:normAutofit/>
          </a:bodyPr>
          <a:lstStyle>
            <a:lvl1pPr>
              <a:defRPr sz="1400"/>
            </a:lvl1pPr>
            <a:lvl2pPr marL="357188" indent="-171450">
              <a:defRPr sz="1400"/>
            </a:lvl2pPr>
            <a:lvl3pPr marL="542925" indent="-185738">
              <a:defRPr sz="1400"/>
            </a:lvl3pPr>
            <a:lvl4pPr marL="715963" indent="-173038">
              <a:defRPr sz="1400"/>
            </a:lvl4pPr>
            <a:lvl5pPr marL="901700" indent="-185738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178616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57200" y="6309320"/>
            <a:ext cx="8229600" cy="349499"/>
          </a:xfrm>
        </p:spPr>
        <p:txBody>
          <a:bodyPr anchor="b">
            <a:noAutofit/>
          </a:bodyPr>
          <a:lstStyle>
            <a:lvl1pPr>
              <a:defRPr sz="800" b="0"/>
            </a:lvl1pPr>
          </a:lstStyle>
          <a:p>
            <a:pPr lvl="0"/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668903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12776"/>
            <a:ext cx="8291264" cy="4713387"/>
          </a:xfrm>
          <a:prstGeom prst="rect">
            <a:avLst/>
          </a:prstGeom>
        </p:spPr>
        <p:txBody>
          <a:bodyPr/>
          <a:lstStyle>
            <a:lvl1pPr>
              <a:defRPr sz="2600"/>
            </a:lvl1pPr>
            <a:lvl2pPr>
              <a:buClr>
                <a:srgbClr val="FFC000"/>
              </a:buClr>
              <a:defRPr sz="2400"/>
            </a:lvl2pPr>
            <a:lvl3pPr>
              <a:buClr>
                <a:srgbClr val="A7B137"/>
              </a:buClr>
              <a:defRPr sz="2200"/>
            </a:lvl3pPr>
            <a:lvl4pPr>
              <a:buClr>
                <a:srgbClr val="5780AE"/>
              </a:buClr>
              <a:defRPr/>
            </a:lvl4pPr>
            <a:lvl5pPr>
              <a:buClr>
                <a:srgbClr val="FFC000"/>
              </a:buCl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MX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32906" y="332656"/>
            <a:ext cx="6048672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rgbClr val="5780AE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241176" y="6545311"/>
            <a:ext cx="1522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EC3AE08-F1A6-4D17-9A8B-C14841A2AAE0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7704" y="6545311"/>
            <a:ext cx="4680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rgbClr val="FF0000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58880" y="65453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3C0D95-9F8C-4642-8674-4A4C3D9E636D}" type="slidenum">
              <a:rPr lang="es-MX" smtClean="0"/>
              <a:pPr/>
              <a:t>‹#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87043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half" idx="1"/>
          </p:nvPr>
        </p:nvSpPr>
        <p:spPr>
          <a:xfrm>
            <a:off x="395536" y="1600200"/>
            <a:ext cx="4104456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780AE"/>
              </a:buClr>
              <a:defRPr sz="2600"/>
            </a:lvl1pPr>
            <a:lvl2pPr>
              <a:buClr>
                <a:srgbClr val="FFC000"/>
              </a:buClr>
              <a:defRPr sz="2400"/>
            </a:lvl2pPr>
            <a:lvl3pPr>
              <a:buClr>
                <a:srgbClr val="A7B137"/>
              </a:buClr>
              <a:defRPr sz="2200"/>
            </a:lvl3pPr>
            <a:lvl4pPr>
              <a:buClr>
                <a:srgbClr val="5780AE"/>
              </a:buClr>
              <a:defRPr sz="2000"/>
            </a:lvl4pPr>
            <a:lvl5pPr>
              <a:buClr>
                <a:srgbClr val="FFC000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MX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41176" y="6545311"/>
            <a:ext cx="1522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0012182-1135-47E9-A33B-EC5E69A60F5A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7704" y="6545311"/>
            <a:ext cx="4680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58880" y="65453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3C0D95-9F8C-4642-8674-4A4C3D9E636D}" type="slidenum">
              <a:rPr lang="es-MX" smtClean="0"/>
              <a:pPr/>
              <a:t>‹#›</a:t>
            </a:fld>
            <a:endParaRPr lang="es-MX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32906" y="332656"/>
            <a:ext cx="6048672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rgbClr val="5780AE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0"/>
          </p:nvPr>
        </p:nvSpPr>
        <p:spPr>
          <a:xfrm>
            <a:off x="4716016" y="1603748"/>
            <a:ext cx="4104456" cy="4525963"/>
          </a:xfrm>
          <a:prstGeom prst="rect">
            <a:avLst/>
          </a:prstGeom>
        </p:spPr>
        <p:txBody>
          <a:bodyPr/>
          <a:lstStyle>
            <a:lvl1pPr>
              <a:buClr>
                <a:srgbClr val="5780AE"/>
              </a:buClr>
              <a:defRPr sz="2600"/>
            </a:lvl1pPr>
            <a:lvl2pPr>
              <a:buClr>
                <a:srgbClr val="FFC000"/>
              </a:buClr>
              <a:defRPr sz="2400"/>
            </a:lvl2pPr>
            <a:lvl3pPr>
              <a:buClr>
                <a:srgbClr val="A7B137"/>
              </a:buClr>
              <a:defRPr sz="2200"/>
            </a:lvl3pPr>
            <a:lvl4pPr>
              <a:buClr>
                <a:srgbClr val="5780AE"/>
              </a:buClr>
              <a:defRPr sz="2000"/>
            </a:lvl4pPr>
            <a:lvl5pPr>
              <a:buClr>
                <a:srgbClr val="FFC000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MX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2"/>
          <p:cNvSpPr>
            <a:spLocks noGrp="1"/>
          </p:cNvSpPr>
          <p:nvPr>
            <p:ph type="body" idx="1"/>
          </p:nvPr>
        </p:nvSpPr>
        <p:spPr>
          <a:xfrm>
            <a:off x="395536" y="1340768"/>
            <a:ext cx="4104456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>
                <a:solidFill>
                  <a:srgbClr val="A7B137"/>
                </a:solidFill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3"/>
          </p:nvPr>
        </p:nvSpPr>
        <p:spPr>
          <a:xfrm>
            <a:off x="4703490" y="1340768"/>
            <a:ext cx="4116982" cy="63976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>
                <a:solidFill>
                  <a:srgbClr val="A7B137"/>
                </a:solidFill>
                <a:latin typeface="Arial Narrow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5"/>
          </p:nvPr>
        </p:nvSpPr>
        <p:spPr>
          <a:xfrm>
            <a:off x="241176" y="6545311"/>
            <a:ext cx="1522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AF71195-3A7D-479F-81D5-8FBEDF32AD62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7704" y="6545311"/>
            <a:ext cx="4680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58880" y="65453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3C0D95-9F8C-4642-8674-4A4C3D9E636D}" type="slidenum">
              <a:rPr lang="es-MX" smtClean="0"/>
              <a:pPr/>
              <a:t>‹#›</a:t>
            </a:fld>
            <a:endParaRPr lang="es-MX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32906" y="332656"/>
            <a:ext cx="6048672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rgbClr val="5780AE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16"/>
          </p:nvPr>
        </p:nvSpPr>
        <p:spPr>
          <a:xfrm>
            <a:off x="395536" y="1988840"/>
            <a:ext cx="4104456" cy="4137323"/>
          </a:xfrm>
          <a:prstGeom prst="rect">
            <a:avLst/>
          </a:prstGeom>
        </p:spPr>
        <p:txBody>
          <a:bodyPr/>
          <a:lstStyle>
            <a:lvl1pPr>
              <a:buClr>
                <a:srgbClr val="5780AE"/>
              </a:buClr>
              <a:defRPr sz="2600"/>
            </a:lvl1pPr>
            <a:lvl2pPr>
              <a:buClr>
                <a:srgbClr val="FFC000"/>
              </a:buClr>
              <a:defRPr sz="2400"/>
            </a:lvl2pPr>
            <a:lvl3pPr>
              <a:buClr>
                <a:srgbClr val="A7B137"/>
              </a:buClr>
              <a:defRPr sz="2200"/>
            </a:lvl3pPr>
            <a:lvl4pPr>
              <a:buClr>
                <a:srgbClr val="5780AE"/>
              </a:buClr>
              <a:defRPr sz="2000"/>
            </a:lvl4pPr>
            <a:lvl5pPr>
              <a:buClr>
                <a:srgbClr val="FFC000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MX" dirty="0"/>
          </a:p>
        </p:txBody>
      </p:sp>
      <p:sp>
        <p:nvSpPr>
          <p:cNvPr id="23" name="Content Placeholder 2"/>
          <p:cNvSpPr>
            <a:spLocks noGrp="1"/>
          </p:cNvSpPr>
          <p:nvPr>
            <p:ph sz="half" idx="10"/>
          </p:nvPr>
        </p:nvSpPr>
        <p:spPr>
          <a:xfrm>
            <a:off x="4716016" y="1992388"/>
            <a:ext cx="4104456" cy="4137323"/>
          </a:xfrm>
          <a:prstGeom prst="rect">
            <a:avLst/>
          </a:prstGeom>
        </p:spPr>
        <p:txBody>
          <a:bodyPr/>
          <a:lstStyle>
            <a:lvl1pPr>
              <a:buClr>
                <a:srgbClr val="5780AE"/>
              </a:buClr>
              <a:defRPr sz="2600"/>
            </a:lvl1pPr>
            <a:lvl2pPr>
              <a:buClr>
                <a:srgbClr val="FFC000"/>
              </a:buClr>
              <a:defRPr sz="2400"/>
            </a:lvl2pPr>
            <a:lvl3pPr>
              <a:buClr>
                <a:srgbClr val="A7B137"/>
              </a:buClr>
              <a:defRPr sz="2200"/>
            </a:lvl3pPr>
            <a:lvl4pPr>
              <a:buClr>
                <a:srgbClr val="5780AE"/>
              </a:buClr>
              <a:defRPr sz="2000"/>
            </a:lvl4pPr>
            <a:lvl5pPr>
              <a:buClr>
                <a:srgbClr val="FFC000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s-MX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64088" y="1700808"/>
            <a:ext cx="3312368" cy="784930"/>
          </a:xfrm>
          <a:prstGeom prst="rect">
            <a:avLst/>
          </a:prstGeom>
        </p:spPr>
        <p:txBody>
          <a:bodyPr anchor="b"/>
          <a:lstStyle>
            <a:lvl1pPr algn="l">
              <a:defRPr sz="2000" b="1">
                <a:solidFill>
                  <a:srgbClr val="A7B137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64088" y="2636912"/>
            <a:ext cx="3312368" cy="173023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idx="1"/>
          </p:nvPr>
        </p:nvSpPr>
        <p:spPr>
          <a:xfrm>
            <a:off x="395536" y="1700808"/>
            <a:ext cx="476632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 dirty="0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>
          <a:xfrm>
            <a:off x="241176" y="6545311"/>
            <a:ext cx="1522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E5A7C24-B9DE-486C-8042-94EE0D075EAB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7704" y="6545311"/>
            <a:ext cx="4680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58880" y="65453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3C0D95-9F8C-4642-8674-4A4C3D9E636D}" type="slidenum">
              <a:rPr lang="es-MX" smtClean="0"/>
              <a:pPr/>
              <a:t>‹#›</a:t>
            </a:fld>
            <a:endParaRPr lang="es-MX" dirty="0"/>
          </a:p>
        </p:txBody>
      </p:sp>
      <p:sp>
        <p:nvSpPr>
          <p:cNvPr id="12" name="Title 1"/>
          <p:cNvSpPr txBox="1">
            <a:spLocks/>
          </p:cNvSpPr>
          <p:nvPr userDrawn="1"/>
        </p:nvSpPr>
        <p:spPr>
          <a:xfrm>
            <a:off x="332906" y="332656"/>
            <a:ext cx="6048672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rgbClr val="5780AE"/>
                </a:solidFill>
                <a:effectLst/>
                <a:latin typeface="Arial Narrow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780AE"/>
                </a:solidFill>
                <a:effectLst/>
                <a:uLnTx/>
                <a:uFillTx/>
                <a:latin typeface="Arial Narrow" pitchFamily="34" charset="0"/>
                <a:ea typeface="+mj-ea"/>
                <a:cs typeface="+mj-cs"/>
              </a:rPr>
              <a:t>Click to edit Master title style</a:t>
            </a:r>
            <a:endParaRPr kumimoji="0" lang="es-MX" sz="2800" b="1" i="0" u="none" strike="noStrike" kern="1200" cap="none" spc="0" normalizeH="0" baseline="0" noProof="0" dirty="0">
              <a:ln>
                <a:noFill/>
              </a:ln>
              <a:solidFill>
                <a:srgbClr val="5780AE"/>
              </a:solidFill>
              <a:effectLst/>
              <a:uLnTx/>
              <a:uFillTx/>
              <a:latin typeface="Arial Narrow" pitchFamily="34" charset="0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/>
          <p:nvPr userDrawn="1"/>
        </p:nvGraphicFramePr>
        <p:xfrm>
          <a:off x="1835696" y="1772816"/>
          <a:ext cx="6096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41176" y="6545311"/>
            <a:ext cx="1522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2F045E6-AA1E-40B1-984D-1D3EB8CDA424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7704" y="6545311"/>
            <a:ext cx="4680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58880" y="65453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3C0D95-9F8C-4642-8674-4A4C3D9E636D}" type="slidenum">
              <a:rPr lang="es-MX" smtClean="0"/>
              <a:pPr/>
              <a:t>‹#›</a:t>
            </a:fld>
            <a:endParaRPr lang="es-MX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32906" y="332656"/>
            <a:ext cx="6048672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rgbClr val="5780AE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Chart 16"/>
          <p:cNvGraphicFramePr/>
          <p:nvPr userDrawn="1"/>
        </p:nvGraphicFramePr>
        <p:xfrm>
          <a:off x="323528" y="1988840"/>
          <a:ext cx="4005445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Chart 17"/>
          <p:cNvGraphicFramePr/>
          <p:nvPr userDrawn="1"/>
        </p:nvGraphicFramePr>
        <p:xfrm>
          <a:off x="4671011" y="1988840"/>
          <a:ext cx="4005445" cy="3240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241176" y="6545311"/>
            <a:ext cx="1522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58D766-A23C-490D-8CDE-F712F679E02A}" type="datetime1">
              <a:rPr lang="en-US" smtClean="0"/>
              <a:t>4/22/2015</a:t>
            </a:fld>
            <a:endParaRPr lang="es-MX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07704" y="6545311"/>
            <a:ext cx="46805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accent1"/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58880" y="65453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93C0D95-9F8C-4642-8674-4A4C3D9E636D}" type="slidenum">
              <a:rPr lang="es-MX" smtClean="0"/>
              <a:pPr/>
              <a:t>‹#›</a:t>
            </a:fld>
            <a:endParaRPr lang="es-MX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32906" y="332656"/>
            <a:ext cx="6048672" cy="64807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800" b="1">
                <a:solidFill>
                  <a:srgbClr val="5780AE"/>
                </a:solidFill>
                <a:effectLst/>
                <a:latin typeface="Arial Narrow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s-MX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58763"/>
            <a:ext cx="7086600" cy="7318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</a:t>
            </a:r>
            <a:r>
              <a:rPr lang="es-ES_tradnl" dirty="0" err="1" smtClean="0"/>
              <a:t>to</a:t>
            </a:r>
            <a:r>
              <a:rPr lang="es-ES_tradnl" dirty="0" smtClean="0"/>
              <a:t>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CBC506-E2B1-41BF-84B1-A45BA40A312B}" type="datetime1">
              <a:rPr lang="en-US" smtClean="0"/>
              <a:t>4/22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00490" y="6356350"/>
            <a:ext cx="58631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D7D9BA-39EF-4B6E-ABDF-D79711EA21B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77930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\\Alfafile\administrador_planes$\CULTURA ORGANIZACIONAL\CULTURA ORG. 2013\COMUNICACIÓN\TEMPLATES\PORTADA2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1112" y="6349"/>
            <a:ext cx="9155112" cy="6851651"/>
          </a:xfrm>
          <a:prstGeom prst="rect">
            <a:avLst/>
          </a:prstGeom>
          <a:noFill/>
        </p:spPr>
      </p:pic>
      <p:pic>
        <p:nvPicPr>
          <p:cNvPr id="9218" name="Picture 2" descr="cec-logo-300dpi-color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1752" y="605745"/>
            <a:ext cx="182880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Alfafile\administrador_planes$\CULTURA ORGANIZACIONAL\CULTURA ORG. 2013\COMUNICACIÓN\TEMPLATES\LINEA.png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 rot="5400000">
            <a:off x="-3287318" y="3287316"/>
            <a:ext cx="6858002" cy="283369"/>
          </a:xfrm>
          <a:prstGeom prst="rect">
            <a:avLst/>
          </a:prstGeom>
          <a:noFill/>
        </p:spPr>
      </p:pic>
      <p:pic>
        <p:nvPicPr>
          <p:cNvPr id="2051" name="Picture 3" descr="\\Alfafile\administrador_planes$\CULTURA ORGANIZACIONAL\CULTURA ORG. 2013\COMUNICACIÓN\TEMPLATES\LOGO.png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979048" y="426539"/>
            <a:ext cx="731838" cy="341313"/>
          </a:xfrm>
          <a:prstGeom prst="rect">
            <a:avLst/>
          </a:prstGeom>
          <a:noFill/>
        </p:spPr>
      </p:pic>
      <p:pic>
        <p:nvPicPr>
          <p:cNvPr id="10242" name="Picture 2" descr="cec-logo-300dpi-color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9048" y="-2087"/>
            <a:ext cx="1065711" cy="1065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\\Alfafile\administrador_planes$\CULTURA ORGANIZACIONAL\CULTURA ORG. 2013\COMUNICACIÓN\TEMPLATES\LOGO.png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145984" y="1063624"/>
            <a:ext cx="731838" cy="341313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7" r:id="rId2"/>
    <p:sldLayoutId id="2147483654" r:id="rId3"/>
    <p:sldLayoutId id="2147483655" r:id="rId4"/>
    <p:sldLayoutId id="2147483656" r:id="rId5"/>
    <p:sldLayoutId id="2147483652" r:id="rId6"/>
    <p:sldLayoutId id="2147483653" r:id="rId7"/>
    <p:sldLayoutId id="2147483659" r:id="rId8"/>
    <p:sldLayoutId id="2147483674" r:id="rId9"/>
    <p:sldLayoutId id="2147483675" r:id="rId10"/>
    <p:sldLayoutId id="2147483676" r:id="rId11"/>
    <p:sldLayoutId id="2147483677" r:id="rId12"/>
    <p:sldLayoutId id="2147483678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4"/>
        </a:buClr>
        <a:buFont typeface="Wingdings" charset="2"/>
        <a:buChar char="§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Title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208968"/>
            <a:ext cx="9144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8532440" y="6635023"/>
            <a:ext cx="6203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2AF0D27-B66C-4704-856C-AAC92A59E01B}" type="slidenum">
              <a:rPr lang="es-MX" sz="800" b="1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 pitchFamily="34" charset="0"/>
                <a:cs typeface="Calibri" pitchFamily="34" charset="0"/>
              </a:rPr>
              <a:pPr algn="r"/>
              <a:t>‹#›</a:t>
            </a:fld>
            <a:endParaRPr lang="es-MX" b="1" dirty="0">
              <a:solidFill>
                <a:prstClr val="black">
                  <a:lumMod val="95000"/>
                  <a:lumOff val="5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7" name="Group 2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4406132" y="6635982"/>
            <a:ext cx="331736" cy="155216"/>
            <a:chOff x="4857" y="4127"/>
            <a:chExt cx="363" cy="170"/>
          </a:xfrm>
        </p:grpSpPr>
        <p:sp>
          <p:nvSpPr>
            <p:cNvPr id="10" name="Freeform 3"/>
            <p:cNvSpPr>
              <a:spLocks/>
            </p:cNvSpPr>
            <p:nvPr userDrawn="1"/>
          </p:nvSpPr>
          <p:spPr bwMode="auto">
            <a:xfrm>
              <a:off x="5164" y="4127"/>
              <a:ext cx="56" cy="56"/>
            </a:xfrm>
            <a:custGeom>
              <a:avLst/>
              <a:gdLst/>
              <a:ahLst/>
              <a:cxnLst>
                <a:cxn ang="0">
                  <a:pos x="345" y="345"/>
                </a:cxn>
                <a:cxn ang="0">
                  <a:pos x="345" y="0"/>
                </a:cxn>
                <a:cxn ang="0">
                  <a:pos x="0" y="0"/>
                </a:cxn>
                <a:cxn ang="0">
                  <a:pos x="345" y="345"/>
                </a:cxn>
              </a:cxnLst>
              <a:rect l="0" t="0" r="r" b="b"/>
              <a:pathLst>
                <a:path w="345" h="345">
                  <a:moveTo>
                    <a:pt x="345" y="345"/>
                  </a:moveTo>
                  <a:lnTo>
                    <a:pt x="345" y="0"/>
                  </a:lnTo>
                  <a:lnTo>
                    <a:pt x="0" y="0"/>
                  </a:lnTo>
                  <a:lnTo>
                    <a:pt x="345" y="345"/>
                  </a:lnTo>
                  <a:close/>
                </a:path>
              </a:pathLst>
            </a:custGeom>
            <a:solidFill>
              <a:srgbClr val="F89E36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b="1" dirty="0">
                <a:solidFill>
                  <a:srgbClr val="000000"/>
                </a:solidFill>
              </a:endParaRPr>
            </a:p>
          </p:txBody>
        </p:sp>
        <p:grpSp>
          <p:nvGrpSpPr>
            <p:cNvPr id="11" name="Group 4"/>
            <p:cNvGrpSpPr>
              <a:grpSpLocks/>
            </p:cNvGrpSpPr>
            <p:nvPr userDrawn="1"/>
          </p:nvGrpSpPr>
          <p:grpSpPr bwMode="auto">
            <a:xfrm>
              <a:off x="4857" y="4127"/>
              <a:ext cx="335" cy="170"/>
              <a:chOff x="4830" y="4034"/>
              <a:chExt cx="419" cy="212"/>
            </a:xfrm>
          </p:grpSpPr>
          <p:sp>
            <p:nvSpPr>
              <p:cNvPr id="12" name="Freeform 5"/>
              <p:cNvSpPr>
                <a:spLocks noEditPoints="1"/>
              </p:cNvSpPr>
              <p:nvPr userDrawn="1"/>
            </p:nvSpPr>
            <p:spPr bwMode="auto">
              <a:xfrm>
                <a:off x="4830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7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6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4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6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6"/>
              <p:cNvSpPr>
                <a:spLocks/>
              </p:cNvSpPr>
              <p:nvPr userDrawn="1"/>
            </p:nvSpPr>
            <p:spPr bwMode="auto">
              <a:xfrm>
                <a:off x="4984" y="4034"/>
                <a:ext cx="35" cy="2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1" y="0"/>
                  </a:cxn>
                  <a:cxn ang="0">
                    <a:pos x="171" y="258"/>
                  </a:cxn>
                  <a:cxn ang="0">
                    <a:pos x="84" y="432"/>
                  </a:cxn>
                  <a:cxn ang="0">
                    <a:pos x="171" y="432"/>
                  </a:cxn>
                  <a:cxn ang="0">
                    <a:pos x="171" y="1037"/>
                  </a:cxn>
                  <a:cxn ang="0">
                    <a:pos x="0" y="1037"/>
                  </a:cxn>
                  <a:cxn ang="0">
                    <a:pos x="0" y="518"/>
                  </a:cxn>
                  <a:cxn ang="0">
                    <a:pos x="0" y="0"/>
                  </a:cxn>
                </a:cxnLst>
                <a:rect l="0" t="0" r="r" b="b"/>
                <a:pathLst>
                  <a:path w="171" h="1037">
                    <a:moveTo>
                      <a:pt x="0" y="0"/>
                    </a:moveTo>
                    <a:lnTo>
                      <a:pt x="171" y="0"/>
                    </a:lnTo>
                    <a:lnTo>
                      <a:pt x="171" y="258"/>
                    </a:lnTo>
                    <a:lnTo>
                      <a:pt x="84" y="432"/>
                    </a:lnTo>
                    <a:lnTo>
                      <a:pt x="171" y="432"/>
                    </a:lnTo>
                    <a:lnTo>
                      <a:pt x="171" y="1037"/>
                    </a:lnTo>
                    <a:lnTo>
                      <a:pt x="0" y="1037"/>
                    </a:lnTo>
                    <a:lnTo>
                      <a:pt x="0" y="5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auto">
              <a:xfrm>
                <a:off x="5024" y="4034"/>
                <a:ext cx="105" cy="211"/>
              </a:xfrm>
              <a:custGeom>
                <a:avLst/>
                <a:gdLst/>
                <a:ahLst/>
                <a:cxnLst>
                  <a:cxn ang="0">
                    <a:pos x="0" y="432"/>
                  </a:cxn>
                  <a:cxn ang="0">
                    <a:pos x="150" y="302"/>
                  </a:cxn>
                  <a:cxn ang="0">
                    <a:pos x="150" y="236"/>
                  </a:cxn>
                  <a:cxn ang="0">
                    <a:pos x="152" y="210"/>
                  </a:cxn>
                  <a:cxn ang="0">
                    <a:pos x="155" y="185"/>
                  </a:cxn>
                  <a:cxn ang="0">
                    <a:pos x="160" y="161"/>
                  </a:cxn>
                  <a:cxn ang="0">
                    <a:pos x="167" y="138"/>
                  </a:cxn>
                  <a:cxn ang="0">
                    <a:pos x="175" y="117"/>
                  </a:cxn>
                  <a:cxn ang="0">
                    <a:pos x="186" y="97"/>
                  </a:cxn>
                  <a:cxn ang="0">
                    <a:pos x="199" y="79"/>
                  </a:cxn>
                  <a:cxn ang="0">
                    <a:pos x="214" y="62"/>
                  </a:cxn>
                  <a:cxn ang="0">
                    <a:pos x="226" y="51"/>
                  </a:cxn>
                  <a:cxn ang="0">
                    <a:pos x="240" y="41"/>
                  </a:cxn>
                  <a:cxn ang="0">
                    <a:pos x="261" y="29"/>
                  </a:cxn>
                  <a:cxn ang="0">
                    <a:pos x="284" y="18"/>
                  </a:cxn>
                  <a:cxn ang="0">
                    <a:pos x="310" y="10"/>
                  </a:cxn>
                  <a:cxn ang="0">
                    <a:pos x="339" y="5"/>
                  </a:cxn>
                  <a:cxn ang="0">
                    <a:pos x="370" y="1"/>
                  </a:cxn>
                  <a:cxn ang="0">
                    <a:pos x="404" y="0"/>
                  </a:cxn>
                  <a:cxn ang="0">
                    <a:pos x="433" y="1"/>
                  </a:cxn>
                  <a:cxn ang="0">
                    <a:pos x="459" y="3"/>
                  </a:cxn>
                  <a:cxn ang="0">
                    <a:pos x="485" y="7"/>
                  </a:cxn>
                  <a:cxn ang="0">
                    <a:pos x="512" y="14"/>
                  </a:cxn>
                  <a:cxn ang="0">
                    <a:pos x="504" y="140"/>
                  </a:cxn>
                  <a:cxn ang="0">
                    <a:pos x="484" y="135"/>
                  </a:cxn>
                  <a:cxn ang="0">
                    <a:pos x="460" y="131"/>
                  </a:cxn>
                  <a:cxn ang="0">
                    <a:pos x="432" y="129"/>
                  </a:cxn>
                  <a:cxn ang="0">
                    <a:pos x="406" y="130"/>
                  </a:cxn>
                  <a:cxn ang="0">
                    <a:pos x="389" y="133"/>
                  </a:cxn>
                  <a:cxn ang="0">
                    <a:pos x="375" y="138"/>
                  </a:cxn>
                  <a:cxn ang="0">
                    <a:pos x="363" y="146"/>
                  </a:cxn>
                  <a:cxn ang="0">
                    <a:pos x="353" y="156"/>
                  </a:cxn>
                  <a:cxn ang="0">
                    <a:pos x="343" y="173"/>
                  </a:cxn>
                  <a:cxn ang="0">
                    <a:pos x="335" y="193"/>
                  </a:cxn>
                  <a:cxn ang="0">
                    <a:pos x="329" y="216"/>
                  </a:cxn>
                  <a:cxn ang="0">
                    <a:pos x="326" y="242"/>
                  </a:cxn>
                  <a:cxn ang="0">
                    <a:pos x="325" y="303"/>
                  </a:cxn>
                  <a:cxn ang="0">
                    <a:pos x="411" y="432"/>
                  </a:cxn>
                  <a:cxn ang="0">
                    <a:pos x="325" y="1038"/>
                  </a:cxn>
                  <a:cxn ang="0">
                    <a:pos x="150" y="432"/>
                  </a:cxn>
                </a:cxnLst>
                <a:rect l="0" t="0" r="r" b="b"/>
                <a:pathLst>
                  <a:path w="512" h="1038">
                    <a:moveTo>
                      <a:pt x="150" y="432"/>
                    </a:moveTo>
                    <a:lnTo>
                      <a:pt x="0" y="432"/>
                    </a:lnTo>
                    <a:lnTo>
                      <a:pt x="65" y="302"/>
                    </a:lnTo>
                    <a:lnTo>
                      <a:pt x="150" y="302"/>
                    </a:lnTo>
                    <a:lnTo>
                      <a:pt x="150" y="250"/>
                    </a:lnTo>
                    <a:lnTo>
                      <a:pt x="150" y="236"/>
                    </a:lnTo>
                    <a:lnTo>
                      <a:pt x="151" y="223"/>
                    </a:lnTo>
                    <a:lnTo>
                      <a:pt x="152" y="210"/>
                    </a:lnTo>
                    <a:lnTo>
                      <a:pt x="153" y="197"/>
                    </a:lnTo>
                    <a:lnTo>
                      <a:pt x="155" y="185"/>
                    </a:lnTo>
                    <a:lnTo>
                      <a:pt x="157" y="173"/>
                    </a:lnTo>
                    <a:lnTo>
                      <a:pt x="160" y="161"/>
                    </a:lnTo>
                    <a:lnTo>
                      <a:pt x="163" y="149"/>
                    </a:lnTo>
                    <a:lnTo>
                      <a:pt x="167" y="138"/>
                    </a:lnTo>
                    <a:lnTo>
                      <a:pt x="171" y="127"/>
                    </a:lnTo>
                    <a:lnTo>
                      <a:pt x="175" y="117"/>
                    </a:lnTo>
                    <a:lnTo>
                      <a:pt x="180" y="107"/>
                    </a:lnTo>
                    <a:lnTo>
                      <a:pt x="186" y="97"/>
                    </a:lnTo>
                    <a:lnTo>
                      <a:pt x="192" y="88"/>
                    </a:lnTo>
                    <a:lnTo>
                      <a:pt x="199" y="79"/>
                    </a:lnTo>
                    <a:lnTo>
                      <a:pt x="206" y="70"/>
                    </a:lnTo>
                    <a:lnTo>
                      <a:pt x="214" y="62"/>
                    </a:lnTo>
                    <a:lnTo>
                      <a:pt x="222" y="55"/>
                    </a:lnTo>
                    <a:lnTo>
                      <a:pt x="226" y="51"/>
                    </a:lnTo>
                    <a:lnTo>
                      <a:pt x="231" y="47"/>
                    </a:lnTo>
                    <a:lnTo>
                      <a:pt x="240" y="41"/>
                    </a:lnTo>
                    <a:lnTo>
                      <a:pt x="250" y="34"/>
                    </a:lnTo>
                    <a:lnTo>
                      <a:pt x="261" y="29"/>
                    </a:lnTo>
                    <a:lnTo>
                      <a:pt x="273" y="23"/>
                    </a:lnTo>
                    <a:lnTo>
                      <a:pt x="284" y="18"/>
                    </a:lnTo>
                    <a:lnTo>
                      <a:pt x="297" y="14"/>
                    </a:lnTo>
                    <a:lnTo>
                      <a:pt x="310" y="10"/>
                    </a:lnTo>
                    <a:lnTo>
                      <a:pt x="324" y="7"/>
                    </a:lnTo>
                    <a:lnTo>
                      <a:pt x="339" y="5"/>
                    </a:lnTo>
                    <a:lnTo>
                      <a:pt x="354" y="3"/>
                    </a:lnTo>
                    <a:lnTo>
                      <a:pt x="370" y="1"/>
                    </a:lnTo>
                    <a:lnTo>
                      <a:pt x="387" y="0"/>
                    </a:lnTo>
                    <a:lnTo>
                      <a:pt x="404" y="0"/>
                    </a:lnTo>
                    <a:lnTo>
                      <a:pt x="419" y="0"/>
                    </a:lnTo>
                    <a:lnTo>
                      <a:pt x="433" y="1"/>
                    </a:lnTo>
                    <a:lnTo>
                      <a:pt x="447" y="2"/>
                    </a:lnTo>
                    <a:lnTo>
                      <a:pt x="459" y="3"/>
                    </a:lnTo>
                    <a:lnTo>
                      <a:pt x="472" y="5"/>
                    </a:lnTo>
                    <a:lnTo>
                      <a:pt x="485" y="7"/>
                    </a:lnTo>
                    <a:lnTo>
                      <a:pt x="498" y="10"/>
                    </a:lnTo>
                    <a:lnTo>
                      <a:pt x="512" y="14"/>
                    </a:lnTo>
                    <a:lnTo>
                      <a:pt x="512" y="143"/>
                    </a:lnTo>
                    <a:lnTo>
                      <a:pt x="504" y="140"/>
                    </a:lnTo>
                    <a:lnTo>
                      <a:pt x="495" y="138"/>
                    </a:lnTo>
                    <a:lnTo>
                      <a:pt x="484" y="135"/>
                    </a:lnTo>
                    <a:lnTo>
                      <a:pt x="472" y="133"/>
                    </a:lnTo>
                    <a:lnTo>
                      <a:pt x="460" y="131"/>
                    </a:lnTo>
                    <a:lnTo>
                      <a:pt x="446" y="130"/>
                    </a:lnTo>
                    <a:lnTo>
                      <a:pt x="432" y="129"/>
                    </a:lnTo>
                    <a:lnTo>
                      <a:pt x="418" y="129"/>
                    </a:lnTo>
                    <a:lnTo>
                      <a:pt x="406" y="130"/>
                    </a:lnTo>
                    <a:lnTo>
                      <a:pt x="395" y="131"/>
                    </a:lnTo>
                    <a:lnTo>
                      <a:pt x="389" y="133"/>
                    </a:lnTo>
                    <a:lnTo>
                      <a:pt x="384" y="134"/>
                    </a:lnTo>
                    <a:lnTo>
                      <a:pt x="375" y="138"/>
                    </a:lnTo>
                    <a:lnTo>
                      <a:pt x="367" y="143"/>
                    </a:lnTo>
                    <a:lnTo>
                      <a:pt x="363" y="146"/>
                    </a:lnTo>
                    <a:lnTo>
                      <a:pt x="360" y="149"/>
                    </a:lnTo>
                    <a:lnTo>
                      <a:pt x="353" y="156"/>
                    </a:lnTo>
                    <a:lnTo>
                      <a:pt x="347" y="164"/>
                    </a:lnTo>
                    <a:lnTo>
                      <a:pt x="343" y="173"/>
                    </a:lnTo>
                    <a:lnTo>
                      <a:pt x="338" y="183"/>
                    </a:lnTo>
                    <a:lnTo>
                      <a:pt x="335" y="193"/>
                    </a:lnTo>
                    <a:lnTo>
                      <a:pt x="332" y="204"/>
                    </a:lnTo>
                    <a:lnTo>
                      <a:pt x="329" y="216"/>
                    </a:lnTo>
                    <a:lnTo>
                      <a:pt x="327" y="229"/>
                    </a:lnTo>
                    <a:lnTo>
                      <a:pt x="326" y="242"/>
                    </a:lnTo>
                    <a:lnTo>
                      <a:pt x="325" y="256"/>
                    </a:lnTo>
                    <a:lnTo>
                      <a:pt x="325" y="303"/>
                    </a:lnTo>
                    <a:lnTo>
                      <a:pt x="476" y="303"/>
                    </a:lnTo>
                    <a:lnTo>
                      <a:pt x="411" y="432"/>
                    </a:lnTo>
                    <a:lnTo>
                      <a:pt x="325" y="432"/>
                    </a:lnTo>
                    <a:lnTo>
                      <a:pt x="325" y="1038"/>
                    </a:lnTo>
                    <a:lnTo>
                      <a:pt x="150" y="1038"/>
                    </a:lnTo>
                    <a:lnTo>
                      <a:pt x="150" y="432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8"/>
              <p:cNvSpPr>
                <a:spLocks noEditPoints="1"/>
              </p:cNvSpPr>
              <p:nvPr userDrawn="1"/>
            </p:nvSpPr>
            <p:spPr bwMode="auto">
              <a:xfrm>
                <a:off x="5124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6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5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3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5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7333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accent1">
              <a:lumMod val="7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2925" indent="-18573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01700" indent="-18573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58888" indent="-18573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616075" indent="-18415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922114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 smtClean="0"/>
              <a:t>Title</a:t>
            </a:r>
            <a:endParaRPr lang="es-MX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MX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208968"/>
            <a:ext cx="9144000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8532440" y="6635023"/>
            <a:ext cx="62032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2AF0D27-B66C-4704-856C-AAC92A59E01B}" type="slidenum">
              <a:rPr lang="es-MX" sz="800" b="1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 pitchFamily="34" charset="0"/>
                <a:cs typeface="Calibri" pitchFamily="34" charset="0"/>
              </a:rPr>
              <a:pPr algn="r"/>
              <a:t>‹#›</a:t>
            </a:fld>
            <a:endParaRPr lang="es-MX" b="1" dirty="0">
              <a:solidFill>
                <a:prstClr val="black">
                  <a:lumMod val="95000"/>
                  <a:lumOff val="5000"/>
                </a:prstClr>
              </a:solidFill>
              <a:latin typeface="Calibri" pitchFamily="34" charset="0"/>
              <a:cs typeface="Calibri" pitchFamily="34" charset="0"/>
            </a:endParaRPr>
          </a:p>
        </p:txBody>
      </p:sp>
      <p:grpSp>
        <p:nvGrpSpPr>
          <p:cNvPr id="7" name="Group 2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4406132" y="6635982"/>
            <a:ext cx="331736" cy="155216"/>
            <a:chOff x="4857" y="4127"/>
            <a:chExt cx="363" cy="170"/>
          </a:xfrm>
        </p:grpSpPr>
        <p:sp>
          <p:nvSpPr>
            <p:cNvPr id="10" name="Freeform 3"/>
            <p:cNvSpPr>
              <a:spLocks/>
            </p:cNvSpPr>
            <p:nvPr userDrawn="1"/>
          </p:nvSpPr>
          <p:spPr bwMode="auto">
            <a:xfrm>
              <a:off x="5164" y="4127"/>
              <a:ext cx="56" cy="56"/>
            </a:xfrm>
            <a:custGeom>
              <a:avLst/>
              <a:gdLst/>
              <a:ahLst/>
              <a:cxnLst>
                <a:cxn ang="0">
                  <a:pos x="345" y="345"/>
                </a:cxn>
                <a:cxn ang="0">
                  <a:pos x="345" y="0"/>
                </a:cxn>
                <a:cxn ang="0">
                  <a:pos x="0" y="0"/>
                </a:cxn>
                <a:cxn ang="0">
                  <a:pos x="345" y="345"/>
                </a:cxn>
              </a:cxnLst>
              <a:rect l="0" t="0" r="r" b="b"/>
              <a:pathLst>
                <a:path w="345" h="345">
                  <a:moveTo>
                    <a:pt x="345" y="345"/>
                  </a:moveTo>
                  <a:lnTo>
                    <a:pt x="345" y="0"/>
                  </a:lnTo>
                  <a:lnTo>
                    <a:pt x="0" y="0"/>
                  </a:lnTo>
                  <a:lnTo>
                    <a:pt x="345" y="345"/>
                  </a:lnTo>
                  <a:close/>
                </a:path>
              </a:pathLst>
            </a:custGeom>
            <a:solidFill>
              <a:srgbClr val="F89E36"/>
            </a:solidFill>
            <a:ln w="9525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n-US" b="1" dirty="0">
                <a:solidFill>
                  <a:srgbClr val="000000"/>
                </a:solidFill>
              </a:endParaRPr>
            </a:p>
          </p:txBody>
        </p:sp>
        <p:grpSp>
          <p:nvGrpSpPr>
            <p:cNvPr id="11" name="Group 4"/>
            <p:cNvGrpSpPr>
              <a:grpSpLocks/>
            </p:cNvGrpSpPr>
            <p:nvPr userDrawn="1"/>
          </p:nvGrpSpPr>
          <p:grpSpPr bwMode="auto">
            <a:xfrm>
              <a:off x="4857" y="4127"/>
              <a:ext cx="335" cy="170"/>
              <a:chOff x="4830" y="4034"/>
              <a:chExt cx="419" cy="212"/>
            </a:xfrm>
          </p:grpSpPr>
          <p:sp>
            <p:nvSpPr>
              <p:cNvPr id="12" name="Freeform 5"/>
              <p:cNvSpPr>
                <a:spLocks noEditPoints="1"/>
              </p:cNvSpPr>
              <p:nvPr userDrawn="1"/>
            </p:nvSpPr>
            <p:spPr bwMode="auto">
              <a:xfrm>
                <a:off x="4830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7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6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4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6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6"/>
              <p:cNvSpPr>
                <a:spLocks/>
              </p:cNvSpPr>
              <p:nvPr userDrawn="1"/>
            </p:nvSpPr>
            <p:spPr bwMode="auto">
              <a:xfrm>
                <a:off x="4984" y="4034"/>
                <a:ext cx="35" cy="2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71" y="0"/>
                  </a:cxn>
                  <a:cxn ang="0">
                    <a:pos x="171" y="258"/>
                  </a:cxn>
                  <a:cxn ang="0">
                    <a:pos x="84" y="432"/>
                  </a:cxn>
                  <a:cxn ang="0">
                    <a:pos x="171" y="432"/>
                  </a:cxn>
                  <a:cxn ang="0">
                    <a:pos x="171" y="1037"/>
                  </a:cxn>
                  <a:cxn ang="0">
                    <a:pos x="0" y="1037"/>
                  </a:cxn>
                  <a:cxn ang="0">
                    <a:pos x="0" y="518"/>
                  </a:cxn>
                  <a:cxn ang="0">
                    <a:pos x="0" y="0"/>
                  </a:cxn>
                </a:cxnLst>
                <a:rect l="0" t="0" r="r" b="b"/>
                <a:pathLst>
                  <a:path w="171" h="1037">
                    <a:moveTo>
                      <a:pt x="0" y="0"/>
                    </a:moveTo>
                    <a:lnTo>
                      <a:pt x="171" y="0"/>
                    </a:lnTo>
                    <a:lnTo>
                      <a:pt x="171" y="258"/>
                    </a:lnTo>
                    <a:lnTo>
                      <a:pt x="84" y="432"/>
                    </a:lnTo>
                    <a:lnTo>
                      <a:pt x="171" y="432"/>
                    </a:lnTo>
                    <a:lnTo>
                      <a:pt x="171" y="1037"/>
                    </a:lnTo>
                    <a:lnTo>
                      <a:pt x="0" y="1037"/>
                    </a:lnTo>
                    <a:lnTo>
                      <a:pt x="0" y="51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auto">
              <a:xfrm>
                <a:off x="5024" y="4034"/>
                <a:ext cx="105" cy="211"/>
              </a:xfrm>
              <a:custGeom>
                <a:avLst/>
                <a:gdLst/>
                <a:ahLst/>
                <a:cxnLst>
                  <a:cxn ang="0">
                    <a:pos x="0" y="432"/>
                  </a:cxn>
                  <a:cxn ang="0">
                    <a:pos x="150" y="302"/>
                  </a:cxn>
                  <a:cxn ang="0">
                    <a:pos x="150" y="236"/>
                  </a:cxn>
                  <a:cxn ang="0">
                    <a:pos x="152" y="210"/>
                  </a:cxn>
                  <a:cxn ang="0">
                    <a:pos x="155" y="185"/>
                  </a:cxn>
                  <a:cxn ang="0">
                    <a:pos x="160" y="161"/>
                  </a:cxn>
                  <a:cxn ang="0">
                    <a:pos x="167" y="138"/>
                  </a:cxn>
                  <a:cxn ang="0">
                    <a:pos x="175" y="117"/>
                  </a:cxn>
                  <a:cxn ang="0">
                    <a:pos x="186" y="97"/>
                  </a:cxn>
                  <a:cxn ang="0">
                    <a:pos x="199" y="79"/>
                  </a:cxn>
                  <a:cxn ang="0">
                    <a:pos x="214" y="62"/>
                  </a:cxn>
                  <a:cxn ang="0">
                    <a:pos x="226" y="51"/>
                  </a:cxn>
                  <a:cxn ang="0">
                    <a:pos x="240" y="41"/>
                  </a:cxn>
                  <a:cxn ang="0">
                    <a:pos x="261" y="29"/>
                  </a:cxn>
                  <a:cxn ang="0">
                    <a:pos x="284" y="18"/>
                  </a:cxn>
                  <a:cxn ang="0">
                    <a:pos x="310" y="10"/>
                  </a:cxn>
                  <a:cxn ang="0">
                    <a:pos x="339" y="5"/>
                  </a:cxn>
                  <a:cxn ang="0">
                    <a:pos x="370" y="1"/>
                  </a:cxn>
                  <a:cxn ang="0">
                    <a:pos x="404" y="0"/>
                  </a:cxn>
                  <a:cxn ang="0">
                    <a:pos x="433" y="1"/>
                  </a:cxn>
                  <a:cxn ang="0">
                    <a:pos x="459" y="3"/>
                  </a:cxn>
                  <a:cxn ang="0">
                    <a:pos x="485" y="7"/>
                  </a:cxn>
                  <a:cxn ang="0">
                    <a:pos x="512" y="14"/>
                  </a:cxn>
                  <a:cxn ang="0">
                    <a:pos x="504" y="140"/>
                  </a:cxn>
                  <a:cxn ang="0">
                    <a:pos x="484" y="135"/>
                  </a:cxn>
                  <a:cxn ang="0">
                    <a:pos x="460" y="131"/>
                  </a:cxn>
                  <a:cxn ang="0">
                    <a:pos x="432" y="129"/>
                  </a:cxn>
                  <a:cxn ang="0">
                    <a:pos x="406" y="130"/>
                  </a:cxn>
                  <a:cxn ang="0">
                    <a:pos x="389" y="133"/>
                  </a:cxn>
                  <a:cxn ang="0">
                    <a:pos x="375" y="138"/>
                  </a:cxn>
                  <a:cxn ang="0">
                    <a:pos x="363" y="146"/>
                  </a:cxn>
                  <a:cxn ang="0">
                    <a:pos x="353" y="156"/>
                  </a:cxn>
                  <a:cxn ang="0">
                    <a:pos x="343" y="173"/>
                  </a:cxn>
                  <a:cxn ang="0">
                    <a:pos x="335" y="193"/>
                  </a:cxn>
                  <a:cxn ang="0">
                    <a:pos x="329" y="216"/>
                  </a:cxn>
                  <a:cxn ang="0">
                    <a:pos x="326" y="242"/>
                  </a:cxn>
                  <a:cxn ang="0">
                    <a:pos x="325" y="303"/>
                  </a:cxn>
                  <a:cxn ang="0">
                    <a:pos x="411" y="432"/>
                  </a:cxn>
                  <a:cxn ang="0">
                    <a:pos x="325" y="1038"/>
                  </a:cxn>
                  <a:cxn ang="0">
                    <a:pos x="150" y="432"/>
                  </a:cxn>
                </a:cxnLst>
                <a:rect l="0" t="0" r="r" b="b"/>
                <a:pathLst>
                  <a:path w="512" h="1038">
                    <a:moveTo>
                      <a:pt x="150" y="432"/>
                    </a:moveTo>
                    <a:lnTo>
                      <a:pt x="0" y="432"/>
                    </a:lnTo>
                    <a:lnTo>
                      <a:pt x="65" y="302"/>
                    </a:lnTo>
                    <a:lnTo>
                      <a:pt x="150" y="302"/>
                    </a:lnTo>
                    <a:lnTo>
                      <a:pt x="150" y="250"/>
                    </a:lnTo>
                    <a:lnTo>
                      <a:pt x="150" y="236"/>
                    </a:lnTo>
                    <a:lnTo>
                      <a:pt x="151" y="223"/>
                    </a:lnTo>
                    <a:lnTo>
                      <a:pt x="152" y="210"/>
                    </a:lnTo>
                    <a:lnTo>
                      <a:pt x="153" y="197"/>
                    </a:lnTo>
                    <a:lnTo>
                      <a:pt x="155" y="185"/>
                    </a:lnTo>
                    <a:lnTo>
                      <a:pt x="157" y="173"/>
                    </a:lnTo>
                    <a:lnTo>
                      <a:pt x="160" y="161"/>
                    </a:lnTo>
                    <a:lnTo>
                      <a:pt x="163" y="149"/>
                    </a:lnTo>
                    <a:lnTo>
                      <a:pt x="167" y="138"/>
                    </a:lnTo>
                    <a:lnTo>
                      <a:pt x="171" y="127"/>
                    </a:lnTo>
                    <a:lnTo>
                      <a:pt x="175" y="117"/>
                    </a:lnTo>
                    <a:lnTo>
                      <a:pt x="180" y="107"/>
                    </a:lnTo>
                    <a:lnTo>
                      <a:pt x="186" y="97"/>
                    </a:lnTo>
                    <a:lnTo>
                      <a:pt x="192" y="88"/>
                    </a:lnTo>
                    <a:lnTo>
                      <a:pt x="199" y="79"/>
                    </a:lnTo>
                    <a:lnTo>
                      <a:pt x="206" y="70"/>
                    </a:lnTo>
                    <a:lnTo>
                      <a:pt x="214" y="62"/>
                    </a:lnTo>
                    <a:lnTo>
                      <a:pt x="222" y="55"/>
                    </a:lnTo>
                    <a:lnTo>
                      <a:pt x="226" y="51"/>
                    </a:lnTo>
                    <a:lnTo>
                      <a:pt x="231" y="47"/>
                    </a:lnTo>
                    <a:lnTo>
                      <a:pt x="240" y="41"/>
                    </a:lnTo>
                    <a:lnTo>
                      <a:pt x="250" y="34"/>
                    </a:lnTo>
                    <a:lnTo>
                      <a:pt x="261" y="29"/>
                    </a:lnTo>
                    <a:lnTo>
                      <a:pt x="273" y="23"/>
                    </a:lnTo>
                    <a:lnTo>
                      <a:pt x="284" y="18"/>
                    </a:lnTo>
                    <a:lnTo>
                      <a:pt x="297" y="14"/>
                    </a:lnTo>
                    <a:lnTo>
                      <a:pt x="310" y="10"/>
                    </a:lnTo>
                    <a:lnTo>
                      <a:pt x="324" y="7"/>
                    </a:lnTo>
                    <a:lnTo>
                      <a:pt x="339" y="5"/>
                    </a:lnTo>
                    <a:lnTo>
                      <a:pt x="354" y="3"/>
                    </a:lnTo>
                    <a:lnTo>
                      <a:pt x="370" y="1"/>
                    </a:lnTo>
                    <a:lnTo>
                      <a:pt x="387" y="0"/>
                    </a:lnTo>
                    <a:lnTo>
                      <a:pt x="404" y="0"/>
                    </a:lnTo>
                    <a:lnTo>
                      <a:pt x="419" y="0"/>
                    </a:lnTo>
                    <a:lnTo>
                      <a:pt x="433" y="1"/>
                    </a:lnTo>
                    <a:lnTo>
                      <a:pt x="447" y="2"/>
                    </a:lnTo>
                    <a:lnTo>
                      <a:pt x="459" y="3"/>
                    </a:lnTo>
                    <a:lnTo>
                      <a:pt x="472" y="5"/>
                    </a:lnTo>
                    <a:lnTo>
                      <a:pt x="485" y="7"/>
                    </a:lnTo>
                    <a:lnTo>
                      <a:pt x="498" y="10"/>
                    </a:lnTo>
                    <a:lnTo>
                      <a:pt x="512" y="14"/>
                    </a:lnTo>
                    <a:lnTo>
                      <a:pt x="512" y="143"/>
                    </a:lnTo>
                    <a:lnTo>
                      <a:pt x="504" y="140"/>
                    </a:lnTo>
                    <a:lnTo>
                      <a:pt x="495" y="138"/>
                    </a:lnTo>
                    <a:lnTo>
                      <a:pt x="484" y="135"/>
                    </a:lnTo>
                    <a:lnTo>
                      <a:pt x="472" y="133"/>
                    </a:lnTo>
                    <a:lnTo>
                      <a:pt x="460" y="131"/>
                    </a:lnTo>
                    <a:lnTo>
                      <a:pt x="446" y="130"/>
                    </a:lnTo>
                    <a:lnTo>
                      <a:pt x="432" y="129"/>
                    </a:lnTo>
                    <a:lnTo>
                      <a:pt x="418" y="129"/>
                    </a:lnTo>
                    <a:lnTo>
                      <a:pt x="406" y="130"/>
                    </a:lnTo>
                    <a:lnTo>
                      <a:pt x="395" y="131"/>
                    </a:lnTo>
                    <a:lnTo>
                      <a:pt x="389" y="133"/>
                    </a:lnTo>
                    <a:lnTo>
                      <a:pt x="384" y="134"/>
                    </a:lnTo>
                    <a:lnTo>
                      <a:pt x="375" y="138"/>
                    </a:lnTo>
                    <a:lnTo>
                      <a:pt x="367" y="143"/>
                    </a:lnTo>
                    <a:lnTo>
                      <a:pt x="363" y="146"/>
                    </a:lnTo>
                    <a:lnTo>
                      <a:pt x="360" y="149"/>
                    </a:lnTo>
                    <a:lnTo>
                      <a:pt x="353" y="156"/>
                    </a:lnTo>
                    <a:lnTo>
                      <a:pt x="347" y="164"/>
                    </a:lnTo>
                    <a:lnTo>
                      <a:pt x="343" y="173"/>
                    </a:lnTo>
                    <a:lnTo>
                      <a:pt x="338" y="183"/>
                    </a:lnTo>
                    <a:lnTo>
                      <a:pt x="335" y="193"/>
                    </a:lnTo>
                    <a:lnTo>
                      <a:pt x="332" y="204"/>
                    </a:lnTo>
                    <a:lnTo>
                      <a:pt x="329" y="216"/>
                    </a:lnTo>
                    <a:lnTo>
                      <a:pt x="327" y="229"/>
                    </a:lnTo>
                    <a:lnTo>
                      <a:pt x="326" y="242"/>
                    </a:lnTo>
                    <a:lnTo>
                      <a:pt x="325" y="256"/>
                    </a:lnTo>
                    <a:lnTo>
                      <a:pt x="325" y="303"/>
                    </a:lnTo>
                    <a:lnTo>
                      <a:pt x="476" y="303"/>
                    </a:lnTo>
                    <a:lnTo>
                      <a:pt x="411" y="432"/>
                    </a:lnTo>
                    <a:lnTo>
                      <a:pt x="325" y="432"/>
                    </a:lnTo>
                    <a:lnTo>
                      <a:pt x="325" y="1038"/>
                    </a:lnTo>
                    <a:lnTo>
                      <a:pt x="150" y="1038"/>
                    </a:lnTo>
                    <a:lnTo>
                      <a:pt x="150" y="432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Freeform 8"/>
              <p:cNvSpPr>
                <a:spLocks noEditPoints="1"/>
              </p:cNvSpPr>
              <p:nvPr userDrawn="1"/>
            </p:nvSpPr>
            <p:spPr bwMode="auto">
              <a:xfrm>
                <a:off x="5124" y="4086"/>
                <a:ext cx="125" cy="160"/>
              </a:xfrm>
              <a:custGeom>
                <a:avLst/>
                <a:gdLst/>
                <a:ahLst/>
                <a:cxnLst>
                  <a:cxn ang="0">
                    <a:pos x="610" y="237"/>
                  </a:cxn>
                  <a:cxn ang="0">
                    <a:pos x="599" y="173"/>
                  </a:cxn>
                  <a:cxn ang="0">
                    <a:pos x="578" y="121"/>
                  </a:cxn>
                  <a:cxn ang="0">
                    <a:pos x="547" y="79"/>
                  </a:cxn>
                  <a:cxn ang="0">
                    <a:pos x="509" y="46"/>
                  </a:cxn>
                  <a:cxn ang="0">
                    <a:pos x="464" y="23"/>
                  </a:cxn>
                  <a:cxn ang="0">
                    <a:pos x="412" y="8"/>
                  </a:cxn>
                  <a:cxn ang="0">
                    <a:pos x="355" y="0"/>
                  </a:cxn>
                  <a:cxn ang="0">
                    <a:pos x="277" y="2"/>
                  </a:cxn>
                  <a:cxn ang="0">
                    <a:pos x="222" y="10"/>
                  </a:cxn>
                  <a:cxn ang="0">
                    <a:pos x="176" y="26"/>
                  </a:cxn>
                  <a:cxn ang="0">
                    <a:pos x="128" y="52"/>
                  </a:cxn>
                  <a:cxn ang="0">
                    <a:pos x="97" y="79"/>
                  </a:cxn>
                  <a:cxn ang="0">
                    <a:pos x="71" y="109"/>
                  </a:cxn>
                  <a:cxn ang="0">
                    <a:pos x="44" y="152"/>
                  </a:cxn>
                  <a:cxn ang="0">
                    <a:pos x="217" y="167"/>
                  </a:cxn>
                  <a:cxn ang="0">
                    <a:pos x="239" y="143"/>
                  </a:cxn>
                  <a:cxn ang="0">
                    <a:pos x="264" y="129"/>
                  </a:cxn>
                  <a:cxn ang="0">
                    <a:pos x="289" y="123"/>
                  </a:cxn>
                  <a:cxn ang="0">
                    <a:pos x="334" y="122"/>
                  </a:cxn>
                  <a:cxn ang="0">
                    <a:pos x="361" y="127"/>
                  </a:cxn>
                  <a:cxn ang="0">
                    <a:pos x="390" y="140"/>
                  </a:cxn>
                  <a:cxn ang="0">
                    <a:pos x="418" y="168"/>
                  </a:cxn>
                  <a:cxn ang="0">
                    <a:pos x="431" y="193"/>
                  </a:cxn>
                  <a:cxn ang="0">
                    <a:pos x="438" y="227"/>
                  </a:cxn>
                  <a:cxn ang="0">
                    <a:pos x="341" y="297"/>
                  </a:cxn>
                  <a:cxn ang="0">
                    <a:pos x="268" y="302"/>
                  </a:cxn>
                  <a:cxn ang="0">
                    <a:pos x="202" y="314"/>
                  </a:cxn>
                  <a:cxn ang="0">
                    <a:pos x="143" y="335"/>
                  </a:cxn>
                  <a:cxn ang="0">
                    <a:pos x="104" y="356"/>
                  </a:cxn>
                  <a:cxn ang="0">
                    <a:pos x="61" y="391"/>
                  </a:cxn>
                  <a:cxn ang="0">
                    <a:pos x="28" y="436"/>
                  </a:cxn>
                  <a:cxn ang="0">
                    <a:pos x="7" y="492"/>
                  </a:cxn>
                  <a:cxn ang="0">
                    <a:pos x="2" y="524"/>
                  </a:cxn>
                  <a:cxn ang="0">
                    <a:pos x="1" y="584"/>
                  </a:cxn>
                  <a:cxn ang="0">
                    <a:pos x="11" y="642"/>
                  </a:cxn>
                  <a:cxn ang="0">
                    <a:pos x="22" y="673"/>
                  </a:cxn>
                  <a:cxn ang="0">
                    <a:pos x="42" y="709"/>
                  </a:cxn>
                  <a:cxn ang="0">
                    <a:pos x="70" y="739"/>
                  </a:cxn>
                  <a:cxn ang="0">
                    <a:pos x="102" y="763"/>
                  </a:cxn>
                  <a:cxn ang="0">
                    <a:pos x="140" y="779"/>
                  </a:cxn>
                  <a:cxn ang="0">
                    <a:pos x="173" y="786"/>
                  </a:cxn>
                  <a:cxn ang="0">
                    <a:pos x="226" y="787"/>
                  </a:cxn>
                  <a:cxn ang="0">
                    <a:pos x="260" y="782"/>
                  </a:cxn>
                  <a:cxn ang="0">
                    <a:pos x="323" y="759"/>
                  </a:cxn>
                  <a:cxn ang="0">
                    <a:pos x="379" y="720"/>
                  </a:cxn>
                  <a:cxn ang="0">
                    <a:pos x="427" y="672"/>
                  </a:cxn>
                  <a:cxn ang="0">
                    <a:pos x="435" y="560"/>
                  </a:cxn>
                  <a:cxn ang="0">
                    <a:pos x="363" y="619"/>
                  </a:cxn>
                  <a:cxn ang="0">
                    <a:pos x="327" y="640"/>
                  </a:cxn>
                  <a:cxn ang="0">
                    <a:pos x="298" y="647"/>
                  </a:cxn>
                  <a:cxn ang="0">
                    <a:pos x="253" y="648"/>
                  </a:cxn>
                  <a:cxn ang="0">
                    <a:pos x="225" y="642"/>
                  </a:cxn>
                  <a:cxn ang="0">
                    <a:pos x="196" y="621"/>
                  </a:cxn>
                  <a:cxn ang="0">
                    <a:pos x="177" y="587"/>
                  </a:cxn>
                  <a:cxn ang="0">
                    <a:pos x="171" y="544"/>
                  </a:cxn>
                  <a:cxn ang="0">
                    <a:pos x="174" y="512"/>
                  </a:cxn>
                  <a:cxn ang="0">
                    <a:pos x="183" y="485"/>
                  </a:cxn>
                  <a:cxn ang="0">
                    <a:pos x="198" y="461"/>
                  </a:cxn>
                  <a:cxn ang="0">
                    <a:pos x="233" y="434"/>
                  </a:cxn>
                  <a:cxn ang="0">
                    <a:pos x="266" y="421"/>
                  </a:cxn>
                  <a:cxn ang="0">
                    <a:pos x="329" y="409"/>
                  </a:cxn>
                  <a:cxn ang="0">
                    <a:pos x="435" y="560"/>
                  </a:cxn>
                </a:cxnLst>
                <a:rect l="0" t="0" r="r" b="b"/>
                <a:pathLst>
                  <a:path w="611" h="788">
                    <a:moveTo>
                      <a:pt x="611" y="785"/>
                    </a:moveTo>
                    <a:lnTo>
                      <a:pt x="611" y="273"/>
                    </a:lnTo>
                    <a:lnTo>
                      <a:pt x="611" y="255"/>
                    </a:lnTo>
                    <a:lnTo>
                      <a:pt x="610" y="237"/>
                    </a:lnTo>
                    <a:lnTo>
                      <a:pt x="608" y="220"/>
                    </a:lnTo>
                    <a:lnTo>
                      <a:pt x="606" y="204"/>
                    </a:lnTo>
                    <a:lnTo>
                      <a:pt x="602" y="188"/>
                    </a:lnTo>
                    <a:lnTo>
                      <a:pt x="599" y="173"/>
                    </a:lnTo>
                    <a:lnTo>
                      <a:pt x="594" y="159"/>
                    </a:lnTo>
                    <a:lnTo>
                      <a:pt x="589" y="146"/>
                    </a:lnTo>
                    <a:lnTo>
                      <a:pt x="584" y="133"/>
                    </a:lnTo>
                    <a:lnTo>
                      <a:pt x="578" y="121"/>
                    </a:lnTo>
                    <a:lnTo>
                      <a:pt x="571" y="109"/>
                    </a:lnTo>
                    <a:lnTo>
                      <a:pt x="564" y="99"/>
                    </a:lnTo>
                    <a:lnTo>
                      <a:pt x="556" y="88"/>
                    </a:lnTo>
                    <a:lnTo>
                      <a:pt x="547" y="79"/>
                    </a:lnTo>
                    <a:lnTo>
                      <a:pt x="539" y="70"/>
                    </a:lnTo>
                    <a:lnTo>
                      <a:pt x="529" y="61"/>
                    </a:lnTo>
                    <a:lnTo>
                      <a:pt x="519" y="53"/>
                    </a:lnTo>
                    <a:lnTo>
                      <a:pt x="509" y="46"/>
                    </a:lnTo>
                    <a:lnTo>
                      <a:pt x="498" y="39"/>
                    </a:lnTo>
                    <a:lnTo>
                      <a:pt x="487" y="33"/>
                    </a:lnTo>
                    <a:lnTo>
                      <a:pt x="476" y="28"/>
                    </a:lnTo>
                    <a:lnTo>
                      <a:pt x="464" y="23"/>
                    </a:lnTo>
                    <a:lnTo>
                      <a:pt x="451" y="18"/>
                    </a:lnTo>
                    <a:lnTo>
                      <a:pt x="438" y="14"/>
                    </a:lnTo>
                    <a:lnTo>
                      <a:pt x="425" y="11"/>
                    </a:lnTo>
                    <a:lnTo>
                      <a:pt x="412" y="8"/>
                    </a:lnTo>
                    <a:lnTo>
                      <a:pt x="398" y="5"/>
                    </a:lnTo>
                    <a:lnTo>
                      <a:pt x="384" y="3"/>
                    </a:lnTo>
                    <a:lnTo>
                      <a:pt x="369" y="1"/>
                    </a:lnTo>
                    <a:lnTo>
                      <a:pt x="355" y="0"/>
                    </a:lnTo>
                    <a:lnTo>
                      <a:pt x="324" y="0"/>
                    </a:lnTo>
                    <a:lnTo>
                      <a:pt x="308" y="0"/>
                    </a:lnTo>
                    <a:lnTo>
                      <a:pt x="292" y="0"/>
                    </a:lnTo>
                    <a:lnTo>
                      <a:pt x="277" y="2"/>
                    </a:lnTo>
                    <a:lnTo>
                      <a:pt x="263" y="3"/>
                    </a:lnTo>
                    <a:lnTo>
                      <a:pt x="249" y="5"/>
                    </a:lnTo>
                    <a:lnTo>
                      <a:pt x="235" y="8"/>
                    </a:lnTo>
                    <a:lnTo>
                      <a:pt x="222" y="10"/>
                    </a:lnTo>
                    <a:lnTo>
                      <a:pt x="210" y="14"/>
                    </a:lnTo>
                    <a:lnTo>
                      <a:pt x="198" y="17"/>
                    </a:lnTo>
                    <a:lnTo>
                      <a:pt x="187" y="21"/>
                    </a:lnTo>
                    <a:lnTo>
                      <a:pt x="176" y="26"/>
                    </a:lnTo>
                    <a:lnTo>
                      <a:pt x="165" y="30"/>
                    </a:lnTo>
                    <a:lnTo>
                      <a:pt x="146" y="41"/>
                    </a:lnTo>
                    <a:lnTo>
                      <a:pt x="137" y="46"/>
                    </a:lnTo>
                    <a:lnTo>
                      <a:pt x="128" y="52"/>
                    </a:lnTo>
                    <a:lnTo>
                      <a:pt x="120" y="59"/>
                    </a:lnTo>
                    <a:lnTo>
                      <a:pt x="112" y="65"/>
                    </a:lnTo>
                    <a:lnTo>
                      <a:pt x="104" y="72"/>
                    </a:lnTo>
                    <a:lnTo>
                      <a:pt x="97" y="79"/>
                    </a:lnTo>
                    <a:lnTo>
                      <a:pt x="90" y="86"/>
                    </a:lnTo>
                    <a:lnTo>
                      <a:pt x="83" y="94"/>
                    </a:lnTo>
                    <a:lnTo>
                      <a:pt x="77" y="101"/>
                    </a:lnTo>
                    <a:lnTo>
                      <a:pt x="71" y="109"/>
                    </a:lnTo>
                    <a:lnTo>
                      <a:pt x="65" y="118"/>
                    </a:lnTo>
                    <a:lnTo>
                      <a:pt x="60" y="126"/>
                    </a:lnTo>
                    <a:lnTo>
                      <a:pt x="49" y="143"/>
                    </a:lnTo>
                    <a:lnTo>
                      <a:pt x="44" y="152"/>
                    </a:lnTo>
                    <a:lnTo>
                      <a:pt x="39" y="161"/>
                    </a:lnTo>
                    <a:lnTo>
                      <a:pt x="31" y="179"/>
                    </a:lnTo>
                    <a:lnTo>
                      <a:pt x="209" y="179"/>
                    </a:lnTo>
                    <a:lnTo>
                      <a:pt x="217" y="167"/>
                    </a:lnTo>
                    <a:lnTo>
                      <a:pt x="225" y="157"/>
                    </a:lnTo>
                    <a:lnTo>
                      <a:pt x="230" y="152"/>
                    </a:lnTo>
                    <a:lnTo>
                      <a:pt x="234" y="147"/>
                    </a:lnTo>
                    <a:lnTo>
                      <a:pt x="239" y="143"/>
                    </a:lnTo>
                    <a:lnTo>
                      <a:pt x="245" y="139"/>
                    </a:lnTo>
                    <a:lnTo>
                      <a:pt x="251" y="135"/>
                    </a:lnTo>
                    <a:lnTo>
                      <a:pt x="257" y="132"/>
                    </a:lnTo>
                    <a:lnTo>
                      <a:pt x="264" y="129"/>
                    </a:lnTo>
                    <a:lnTo>
                      <a:pt x="272" y="127"/>
                    </a:lnTo>
                    <a:lnTo>
                      <a:pt x="280" y="125"/>
                    </a:lnTo>
                    <a:lnTo>
                      <a:pt x="285" y="124"/>
                    </a:lnTo>
                    <a:lnTo>
                      <a:pt x="289" y="123"/>
                    </a:lnTo>
                    <a:lnTo>
                      <a:pt x="299" y="122"/>
                    </a:lnTo>
                    <a:lnTo>
                      <a:pt x="311" y="121"/>
                    </a:lnTo>
                    <a:lnTo>
                      <a:pt x="326" y="121"/>
                    </a:lnTo>
                    <a:lnTo>
                      <a:pt x="334" y="122"/>
                    </a:lnTo>
                    <a:lnTo>
                      <a:pt x="341" y="123"/>
                    </a:lnTo>
                    <a:lnTo>
                      <a:pt x="348" y="124"/>
                    </a:lnTo>
                    <a:lnTo>
                      <a:pt x="355" y="125"/>
                    </a:lnTo>
                    <a:lnTo>
                      <a:pt x="361" y="127"/>
                    </a:lnTo>
                    <a:lnTo>
                      <a:pt x="368" y="129"/>
                    </a:lnTo>
                    <a:lnTo>
                      <a:pt x="379" y="134"/>
                    </a:lnTo>
                    <a:lnTo>
                      <a:pt x="384" y="137"/>
                    </a:lnTo>
                    <a:lnTo>
                      <a:pt x="390" y="140"/>
                    </a:lnTo>
                    <a:lnTo>
                      <a:pt x="399" y="147"/>
                    </a:lnTo>
                    <a:lnTo>
                      <a:pt x="407" y="155"/>
                    </a:lnTo>
                    <a:lnTo>
                      <a:pt x="415" y="164"/>
                    </a:lnTo>
                    <a:lnTo>
                      <a:pt x="418" y="168"/>
                    </a:lnTo>
                    <a:lnTo>
                      <a:pt x="421" y="173"/>
                    </a:lnTo>
                    <a:lnTo>
                      <a:pt x="424" y="178"/>
                    </a:lnTo>
                    <a:lnTo>
                      <a:pt x="426" y="183"/>
                    </a:lnTo>
                    <a:lnTo>
                      <a:pt x="431" y="193"/>
                    </a:lnTo>
                    <a:lnTo>
                      <a:pt x="432" y="199"/>
                    </a:lnTo>
                    <a:lnTo>
                      <a:pt x="434" y="204"/>
                    </a:lnTo>
                    <a:lnTo>
                      <a:pt x="436" y="215"/>
                    </a:lnTo>
                    <a:lnTo>
                      <a:pt x="438" y="227"/>
                    </a:lnTo>
                    <a:lnTo>
                      <a:pt x="438" y="239"/>
                    </a:lnTo>
                    <a:lnTo>
                      <a:pt x="438" y="297"/>
                    </a:lnTo>
                    <a:lnTo>
                      <a:pt x="359" y="297"/>
                    </a:lnTo>
                    <a:lnTo>
                      <a:pt x="341" y="297"/>
                    </a:lnTo>
                    <a:lnTo>
                      <a:pt x="322" y="298"/>
                    </a:lnTo>
                    <a:lnTo>
                      <a:pt x="304" y="299"/>
                    </a:lnTo>
                    <a:lnTo>
                      <a:pt x="286" y="300"/>
                    </a:lnTo>
                    <a:lnTo>
                      <a:pt x="268" y="302"/>
                    </a:lnTo>
                    <a:lnTo>
                      <a:pt x="251" y="305"/>
                    </a:lnTo>
                    <a:lnTo>
                      <a:pt x="234" y="307"/>
                    </a:lnTo>
                    <a:lnTo>
                      <a:pt x="218" y="311"/>
                    </a:lnTo>
                    <a:lnTo>
                      <a:pt x="202" y="314"/>
                    </a:lnTo>
                    <a:lnTo>
                      <a:pt x="186" y="319"/>
                    </a:lnTo>
                    <a:lnTo>
                      <a:pt x="171" y="324"/>
                    </a:lnTo>
                    <a:lnTo>
                      <a:pt x="157" y="330"/>
                    </a:lnTo>
                    <a:lnTo>
                      <a:pt x="143" y="335"/>
                    </a:lnTo>
                    <a:lnTo>
                      <a:pt x="129" y="342"/>
                    </a:lnTo>
                    <a:lnTo>
                      <a:pt x="116" y="349"/>
                    </a:lnTo>
                    <a:lnTo>
                      <a:pt x="110" y="352"/>
                    </a:lnTo>
                    <a:lnTo>
                      <a:pt x="104" y="356"/>
                    </a:lnTo>
                    <a:lnTo>
                      <a:pt x="92" y="364"/>
                    </a:lnTo>
                    <a:lnTo>
                      <a:pt x="81" y="372"/>
                    </a:lnTo>
                    <a:lnTo>
                      <a:pt x="71" y="382"/>
                    </a:lnTo>
                    <a:lnTo>
                      <a:pt x="61" y="391"/>
                    </a:lnTo>
                    <a:lnTo>
                      <a:pt x="51" y="402"/>
                    </a:lnTo>
                    <a:lnTo>
                      <a:pt x="42" y="413"/>
                    </a:lnTo>
                    <a:lnTo>
                      <a:pt x="35" y="424"/>
                    </a:lnTo>
                    <a:lnTo>
                      <a:pt x="28" y="436"/>
                    </a:lnTo>
                    <a:lnTo>
                      <a:pt x="21" y="449"/>
                    </a:lnTo>
                    <a:lnTo>
                      <a:pt x="16" y="463"/>
                    </a:lnTo>
                    <a:lnTo>
                      <a:pt x="11" y="477"/>
                    </a:lnTo>
                    <a:lnTo>
                      <a:pt x="7" y="492"/>
                    </a:lnTo>
                    <a:lnTo>
                      <a:pt x="6" y="500"/>
                    </a:lnTo>
                    <a:lnTo>
                      <a:pt x="4" y="508"/>
                    </a:lnTo>
                    <a:lnTo>
                      <a:pt x="3" y="516"/>
                    </a:lnTo>
                    <a:lnTo>
                      <a:pt x="2" y="524"/>
                    </a:lnTo>
                    <a:lnTo>
                      <a:pt x="1" y="541"/>
                    </a:lnTo>
                    <a:lnTo>
                      <a:pt x="0" y="559"/>
                    </a:lnTo>
                    <a:lnTo>
                      <a:pt x="0" y="572"/>
                    </a:lnTo>
                    <a:lnTo>
                      <a:pt x="1" y="584"/>
                    </a:lnTo>
                    <a:lnTo>
                      <a:pt x="2" y="596"/>
                    </a:lnTo>
                    <a:lnTo>
                      <a:pt x="4" y="608"/>
                    </a:lnTo>
                    <a:lnTo>
                      <a:pt x="8" y="631"/>
                    </a:lnTo>
                    <a:lnTo>
                      <a:pt x="11" y="642"/>
                    </a:lnTo>
                    <a:lnTo>
                      <a:pt x="14" y="652"/>
                    </a:lnTo>
                    <a:lnTo>
                      <a:pt x="16" y="658"/>
                    </a:lnTo>
                    <a:lnTo>
                      <a:pt x="18" y="663"/>
                    </a:lnTo>
                    <a:lnTo>
                      <a:pt x="22" y="673"/>
                    </a:lnTo>
                    <a:lnTo>
                      <a:pt x="26" y="682"/>
                    </a:lnTo>
                    <a:lnTo>
                      <a:pt x="31" y="692"/>
                    </a:lnTo>
                    <a:lnTo>
                      <a:pt x="36" y="700"/>
                    </a:lnTo>
                    <a:lnTo>
                      <a:pt x="42" y="709"/>
                    </a:lnTo>
                    <a:lnTo>
                      <a:pt x="48" y="717"/>
                    </a:lnTo>
                    <a:lnTo>
                      <a:pt x="55" y="725"/>
                    </a:lnTo>
                    <a:lnTo>
                      <a:pt x="62" y="732"/>
                    </a:lnTo>
                    <a:lnTo>
                      <a:pt x="70" y="739"/>
                    </a:lnTo>
                    <a:lnTo>
                      <a:pt x="77" y="746"/>
                    </a:lnTo>
                    <a:lnTo>
                      <a:pt x="85" y="752"/>
                    </a:lnTo>
                    <a:lnTo>
                      <a:pt x="93" y="757"/>
                    </a:lnTo>
                    <a:lnTo>
                      <a:pt x="102" y="763"/>
                    </a:lnTo>
                    <a:lnTo>
                      <a:pt x="111" y="767"/>
                    </a:lnTo>
                    <a:lnTo>
                      <a:pt x="121" y="772"/>
                    </a:lnTo>
                    <a:lnTo>
                      <a:pt x="130" y="775"/>
                    </a:lnTo>
                    <a:lnTo>
                      <a:pt x="140" y="779"/>
                    </a:lnTo>
                    <a:lnTo>
                      <a:pt x="151" y="782"/>
                    </a:lnTo>
                    <a:lnTo>
                      <a:pt x="156" y="783"/>
                    </a:lnTo>
                    <a:lnTo>
                      <a:pt x="162" y="784"/>
                    </a:lnTo>
                    <a:lnTo>
                      <a:pt x="173" y="786"/>
                    </a:lnTo>
                    <a:lnTo>
                      <a:pt x="184" y="787"/>
                    </a:lnTo>
                    <a:lnTo>
                      <a:pt x="196" y="788"/>
                    </a:lnTo>
                    <a:lnTo>
                      <a:pt x="208" y="788"/>
                    </a:lnTo>
                    <a:lnTo>
                      <a:pt x="226" y="787"/>
                    </a:lnTo>
                    <a:lnTo>
                      <a:pt x="234" y="787"/>
                    </a:lnTo>
                    <a:lnTo>
                      <a:pt x="243" y="785"/>
                    </a:lnTo>
                    <a:lnTo>
                      <a:pt x="252" y="784"/>
                    </a:lnTo>
                    <a:lnTo>
                      <a:pt x="260" y="782"/>
                    </a:lnTo>
                    <a:lnTo>
                      <a:pt x="277" y="778"/>
                    </a:lnTo>
                    <a:lnTo>
                      <a:pt x="293" y="772"/>
                    </a:lnTo>
                    <a:lnTo>
                      <a:pt x="308" y="766"/>
                    </a:lnTo>
                    <a:lnTo>
                      <a:pt x="323" y="759"/>
                    </a:lnTo>
                    <a:lnTo>
                      <a:pt x="338" y="750"/>
                    </a:lnTo>
                    <a:lnTo>
                      <a:pt x="352" y="741"/>
                    </a:lnTo>
                    <a:lnTo>
                      <a:pt x="366" y="731"/>
                    </a:lnTo>
                    <a:lnTo>
                      <a:pt x="379" y="720"/>
                    </a:lnTo>
                    <a:lnTo>
                      <a:pt x="392" y="709"/>
                    </a:lnTo>
                    <a:lnTo>
                      <a:pt x="404" y="697"/>
                    </a:lnTo>
                    <a:lnTo>
                      <a:pt x="416" y="685"/>
                    </a:lnTo>
                    <a:lnTo>
                      <a:pt x="427" y="672"/>
                    </a:lnTo>
                    <a:lnTo>
                      <a:pt x="438" y="659"/>
                    </a:lnTo>
                    <a:lnTo>
                      <a:pt x="438" y="784"/>
                    </a:lnTo>
                    <a:lnTo>
                      <a:pt x="611" y="785"/>
                    </a:lnTo>
                    <a:close/>
                    <a:moveTo>
                      <a:pt x="435" y="560"/>
                    </a:moveTo>
                    <a:lnTo>
                      <a:pt x="407" y="584"/>
                    </a:lnTo>
                    <a:lnTo>
                      <a:pt x="384" y="604"/>
                    </a:lnTo>
                    <a:lnTo>
                      <a:pt x="373" y="612"/>
                    </a:lnTo>
                    <a:lnTo>
                      <a:pt x="363" y="619"/>
                    </a:lnTo>
                    <a:lnTo>
                      <a:pt x="354" y="626"/>
                    </a:lnTo>
                    <a:lnTo>
                      <a:pt x="345" y="631"/>
                    </a:lnTo>
                    <a:lnTo>
                      <a:pt x="336" y="636"/>
                    </a:lnTo>
                    <a:lnTo>
                      <a:pt x="327" y="640"/>
                    </a:lnTo>
                    <a:lnTo>
                      <a:pt x="322" y="641"/>
                    </a:lnTo>
                    <a:lnTo>
                      <a:pt x="318" y="643"/>
                    </a:lnTo>
                    <a:lnTo>
                      <a:pt x="308" y="645"/>
                    </a:lnTo>
                    <a:lnTo>
                      <a:pt x="298" y="647"/>
                    </a:lnTo>
                    <a:lnTo>
                      <a:pt x="287" y="648"/>
                    </a:lnTo>
                    <a:lnTo>
                      <a:pt x="276" y="649"/>
                    </a:lnTo>
                    <a:lnTo>
                      <a:pt x="264" y="649"/>
                    </a:lnTo>
                    <a:lnTo>
                      <a:pt x="253" y="648"/>
                    </a:lnTo>
                    <a:lnTo>
                      <a:pt x="248" y="648"/>
                    </a:lnTo>
                    <a:lnTo>
                      <a:pt x="243" y="647"/>
                    </a:lnTo>
                    <a:lnTo>
                      <a:pt x="234" y="645"/>
                    </a:lnTo>
                    <a:lnTo>
                      <a:pt x="225" y="642"/>
                    </a:lnTo>
                    <a:lnTo>
                      <a:pt x="217" y="637"/>
                    </a:lnTo>
                    <a:lnTo>
                      <a:pt x="209" y="633"/>
                    </a:lnTo>
                    <a:lnTo>
                      <a:pt x="202" y="627"/>
                    </a:lnTo>
                    <a:lnTo>
                      <a:pt x="196" y="621"/>
                    </a:lnTo>
                    <a:lnTo>
                      <a:pt x="190" y="613"/>
                    </a:lnTo>
                    <a:lnTo>
                      <a:pt x="185" y="605"/>
                    </a:lnTo>
                    <a:lnTo>
                      <a:pt x="181" y="597"/>
                    </a:lnTo>
                    <a:lnTo>
                      <a:pt x="177" y="587"/>
                    </a:lnTo>
                    <a:lnTo>
                      <a:pt x="175" y="577"/>
                    </a:lnTo>
                    <a:lnTo>
                      <a:pt x="173" y="567"/>
                    </a:lnTo>
                    <a:lnTo>
                      <a:pt x="171" y="556"/>
                    </a:lnTo>
                    <a:lnTo>
                      <a:pt x="171" y="544"/>
                    </a:lnTo>
                    <a:lnTo>
                      <a:pt x="171" y="536"/>
                    </a:lnTo>
                    <a:lnTo>
                      <a:pt x="172" y="527"/>
                    </a:lnTo>
                    <a:lnTo>
                      <a:pt x="173" y="520"/>
                    </a:lnTo>
                    <a:lnTo>
                      <a:pt x="174" y="512"/>
                    </a:lnTo>
                    <a:lnTo>
                      <a:pt x="175" y="505"/>
                    </a:lnTo>
                    <a:lnTo>
                      <a:pt x="178" y="498"/>
                    </a:lnTo>
                    <a:lnTo>
                      <a:pt x="180" y="491"/>
                    </a:lnTo>
                    <a:lnTo>
                      <a:pt x="183" y="485"/>
                    </a:lnTo>
                    <a:lnTo>
                      <a:pt x="186" y="478"/>
                    </a:lnTo>
                    <a:lnTo>
                      <a:pt x="190" y="472"/>
                    </a:lnTo>
                    <a:lnTo>
                      <a:pt x="194" y="466"/>
                    </a:lnTo>
                    <a:lnTo>
                      <a:pt x="198" y="461"/>
                    </a:lnTo>
                    <a:lnTo>
                      <a:pt x="203" y="456"/>
                    </a:lnTo>
                    <a:lnTo>
                      <a:pt x="208" y="451"/>
                    </a:lnTo>
                    <a:lnTo>
                      <a:pt x="220" y="442"/>
                    </a:lnTo>
                    <a:lnTo>
                      <a:pt x="233" y="434"/>
                    </a:lnTo>
                    <a:lnTo>
                      <a:pt x="241" y="430"/>
                    </a:lnTo>
                    <a:lnTo>
                      <a:pt x="249" y="427"/>
                    </a:lnTo>
                    <a:lnTo>
                      <a:pt x="257" y="423"/>
                    </a:lnTo>
                    <a:lnTo>
                      <a:pt x="266" y="421"/>
                    </a:lnTo>
                    <a:lnTo>
                      <a:pt x="285" y="416"/>
                    </a:lnTo>
                    <a:lnTo>
                      <a:pt x="295" y="414"/>
                    </a:lnTo>
                    <a:lnTo>
                      <a:pt x="306" y="412"/>
                    </a:lnTo>
                    <a:lnTo>
                      <a:pt x="329" y="409"/>
                    </a:lnTo>
                    <a:lnTo>
                      <a:pt x="354" y="408"/>
                    </a:lnTo>
                    <a:lnTo>
                      <a:pt x="381" y="407"/>
                    </a:lnTo>
                    <a:lnTo>
                      <a:pt x="435" y="407"/>
                    </a:lnTo>
                    <a:lnTo>
                      <a:pt x="435" y="560"/>
                    </a:lnTo>
                    <a:close/>
                  </a:path>
                </a:pathLst>
              </a:custGeom>
              <a:solidFill>
                <a:srgbClr val="5780AE"/>
              </a:solidFill>
              <a:ln w="9525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>
                  <a:defRPr/>
                </a:pPr>
                <a:endParaRPr lang="en-US" b="1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027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accent1">
              <a:lumMod val="75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6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2925" indent="-18573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01700" indent="-18573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258888" indent="-185738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616075" indent="-18415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slideLayout" Target="../slideLayouts/slideLayout14.xml"/><Relationship Id="rId7" Type="http://schemas.openxmlformats.org/officeDocument/2006/relationships/chart" Target="../charts/chart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Relationship Id="rId9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8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8.jpe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4.png"/><Relationship Id="rId7" Type="http://schemas.openxmlformats.org/officeDocument/2006/relationships/image" Target="../media/image17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slide" Target="slide7.xml"/><Relationship Id="rId5" Type="http://schemas.openxmlformats.org/officeDocument/2006/relationships/image" Target="../media/image16.jpeg"/><Relationship Id="rId10" Type="http://schemas.openxmlformats.org/officeDocument/2006/relationships/image" Target="../media/image20.jpeg"/><Relationship Id="rId4" Type="http://schemas.openxmlformats.org/officeDocument/2006/relationships/image" Target="../media/image15.png"/><Relationship Id="rId9" Type="http://schemas.openxmlformats.org/officeDocument/2006/relationships/image" Target="../media/image19.w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gif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359057" y="1089320"/>
            <a:ext cx="4464942" cy="915943"/>
          </a:xfrm>
        </p:spPr>
        <p:txBody>
          <a:bodyPr/>
          <a:lstStyle/>
          <a:p>
            <a:r>
              <a:rPr lang="es-MX" sz="2400" dirty="0" smtClean="0"/>
              <a:t>Consejo de Desarrollo Sustentable de Norteamérica</a:t>
            </a:r>
          </a:p>
        </p:txBody>
      </p:sp>
      <p:sp>
        <p:nvSpPr>
          <p:cNvPr id="4" name="Text Placeholder 1"/>
          <p:cNvSpPr txBox="1">
            <a:spLocks/>
          </p:cNvSpPr>
          <p:nvPr/>
        </p:nvSpPr>
        <p:spPr>
          <a:xfrm>
            <a:off x="4957782" y="5949673"/>
            <a:ext cx="3960440" cy="504131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000" b="1" kern="1200">
                <a:solidFill>
                  <a:srgbClr val="F1AB00"/>
                </a:solidFill>
                <a:latin typeface="Arial Narrow"/>
                <a:ea typeface="+mn-ea"/>
                <a:cs typeface="Arial Narrow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MX" sz="1800" dirty="0" smtClean="0">
                <a:solidFill>
                  <a:schemeClr val="tx1"/>
                </a:solidFill>
              </a:rPr>
              <a:t>23 Abril, 2015</a:t>
            </a:r>
            <a:endParaRPr lang="es-MX" sz="2400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94553" y="6526060"/>
            <a:ext cx="1929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>
                <a:solidFill>
                  <a:srgbClr val="FF0000"/>
                </a:solidFill>
                <a:latin typeface="Arial Narrow" pitchFamily="34" charset="0"/>
              </a:rPr>
              <a:t>CONFIDENCIAL</a:t>
            </a:r>
            <a:endParaRPr lang="es-MX" sz="12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26BE51-0442-4230-8E70-9CC4EB548096}" type="slidenum">
              <a:rPr lang="es-MX" smtClean="0"/>
              <a:pPr/>
              <a:t>1</a:t>
            </a:fld>
            <a:endParaRPr lang="es-MX" dirty="0"/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4453280" y="2912426"/>
            <a:ext cx="4690720" cy="915943"/>
          </a:xfrm>
        </p:spPr>
        <p:txBody>
          <a:bodyPr/>
          <a:lstStyle/>
          <a:p>
            <a:r>
              <a:rPr lang="es-MX" sz="2400" dirty="0" smtClean="0"/>
              <a:t>Energía y Desarrollo Sustentable</a:t>
            </a:r>
          </a:p>
          <a:p>
            <a:r>
              <a:rPr lang="es-MX" sz="2400" dirty="0" smtClean="0"/>
              <a:t>-Experiencia, Retos y Oportunidade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2194056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Block Arc 24"/>
          <p:cNvSpPr/>
          <p:nvPr/>
        </p:nvSpPr>
        <p:spPr>
          <a:xfrm rot="20856726">
            <a:off x="1154832" y="3451360"/>
            <a:ext cx="8954831" cy="3595463"/>
          </a:xfrm>
          <a:prstGeom prst="blockArc">
            <a:avLst>
              <a:gd name="adj1" fmla="val 10915713"/>
              <a:gd name="adj2" fmla="val 20438377"/>
              <a:gd name="adj3" fmla="val 33311"/>
            </a:avLst>
          </a:prstGeom>
          <a:solidFill>
            <a:schemeClr val="bg1">
              <a:lumMod val="75000"/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éxico requiere más </a:t>
            </a:r>
            <a:r>
              <a:rPr lang="es-MX" dirty="0"/>
              <a:t>energía para </a:t>
            </a:r>
            <a:r>
              <a:rPr lang="es-MX" dirty="0" smtClean="0"/>
              <a:t>crecer </a:t>
            </a:r>
            <a:endParaRPr lang="es-MX" dirty="0"/>
          </a:p>
        </p:txBody>
      </p:sp>
      <p:sp>
        <p:nvSpPr>
          <p:cNvPr id="6" name="TextBox 5"/>
          <p:cNvSpPr txBox="1"/>
          <p:nvPr/>
        </p:nvSpPr>
        <p:spPr>
          <a:xfrm>
            <a:off x="8000453" y="3590808"/>
            <a:ext cx="8082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Norueg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796136" y="3158760"/>
            <a:ext cx="6976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EE.UU.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97349" y="4886952"/>
            <a:ext cx="7328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Irlanda 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763688" y="4022856"/>
            <a:ext cx="6030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Rusi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16088" y="4471453"/>
            <a:ext cx="6190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Core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20491" y="5319000"/>
            <a:ext cx="7056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México</a:t>
            </a:r>
            <a:endParaRPr lang="es-MX" sz="12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05023" y="4748452"/>
            <a:ext cx="7393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Malasi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30817" y="5159367"/>
            <a:ext cx="6126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Chin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86967" y="5595905"/>
            <a:ext cx="6110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Brasil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458155" y="5716800"/>
            <a:ext cx="5453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Indi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983089" y="5276839"/>
            <a:ext cx="6623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Greci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87710" y="4750578"/>
            <a:ext cx="731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Españ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851920" y="3706280"/>
            <a:ext cx="8418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Australi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147032" y="4972093"/>
            <a:ext cx="10935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Reino Unido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058557" y="4473579"/>
            <a:ext cx="6383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Japón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18147" y="4332953"/>
            <a:ext cx="8675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Alemani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509311" y="4329101"/>
            <a:ext cx="7312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>
                <a:latin typeface="Arial" pitchFamily="34" charset="0"/>
                <a:cs typeface="Arial" pitchFamily="34" charset="0"/>
              </a:rPr>
              <a:t>Franci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Content Placeholder 6"/>
          <p:cNvSpPr txBox="1">
            <a:spLocks/>
          </p:cNvSpPr>
          <p:nvPr/>
        </p:nvSpPr>
        <p:spPr>
          <a:xfrm>
            <a:off x="251520" y="6463877"/>
            <a:ext cx="8229600" cy="3494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42925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01700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58888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16075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000" b="0" dirty="0" smtClean="0"/>
              <a:t>Fuente: </a:t>
            </a:r>
            <a:r>
              <a:rPr lang="es-MX" sz="1000" b="0" dirty="0" err="1" smtClean="0"/>
              <a:t>World</a:t>
            </a:r>
            <a:r>
              <a:rPr lang="es-MX" sz="1000" b="0" dirty="0" smtClean="0"/>
              <a:t> Bank</a:t>
            </a:r>
            <a:endParaRPr lang="es-MX" sz="1000" b="0" dirty="0"/>
          </a:p>
        </p:txBody>
      </p:sp>
      <p:sp>
        <p:nvSpPr>
          <p:cNvPr id="26" name="Text Placeholder 5"/>
          <p:cNvSpPr txBox="1">
            <a:spLocks/>
          </p:cNvSpPr>
          <p:nvPr/>
        </p:nvSpPr>
        <p:spPr>
          <a:xfrm>
            <a:off x="626329" y="1354561"/>
            <a:ext cx="8060471" cy="6429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42925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01700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58888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16075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es-MX" sz="1800" b="0" dirty="0"/>
              <a:t>Crecimiento de 5% de PIB anual podría requerir más del doble de energía en 10 años</a:t>
            </a:r>
            <a:r>
              <a:rPr lang="es-MX" sz="1800" b="0" dirty="0" smtClean="0"/>
              <a:t>.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s-MX" sz="1800" b="0" dirty="0" smtClean="0"/>
              <a:t>Con la reforma energética se plantea como objetivo incrementar la producción a 3.5 MBPD de crudo y 10.4 BCFD de gas en 2025.</a:t>
            </a:r>
            <a:endParaRPr lang="es-MX" sz="1800" b="0" dirty="0"/>
          </a:p>
        </p:txBody>
      </p:sp>
      <p:cxnSp>
        <p:nvCxnSpPr>
          <p:cNvPr id="5" name="Straight Arrow Connector 4"/>
          <p:cNvCxnSpPr/>
          <p:nvPr/>
        </p:nvCxnSpPr>
        <p:spPr>
          <a:xfrm flipV="1">
            <a:off x="2148201" y="5145513"/>
            <a:ext cx="352821" cy="298132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>
          <a:xfrm>
            <a:off x="2473312" y="4783716"/>
            <a:ext cx="176410" cy="493123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7" name="Slide Number Placeholder 2"/>
          <p:cNvSpPr txBox="1">
            <a:spLocks/>
          </p:cNvSpPr>
          <p:nvPr/>
        </p:nvSpPr>
        <p:spPr>
          <a:xfrm>
            <a:off x="8100490" y="6356350"/>
            <a:ext cx="586310" cy="36512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0490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9170"/>
            <a:ext cx="7086600" cy="731837"/>
          </a:xfrm>
        </p:spPr>
        <p:txBody>
          <a:bodyPr>
            <a:noAutofit/>
          </a:bodyPr>
          <a:lstStyle/>
          <a:p>
            <a:pPr algn="l"/>
            <a:r>
              <a:rPr lang="es-MX" sz="2800" b="1" dirty="0" smtClean="0">
                <a:solidFill>
                  <a:srgbClr val="5780AE"/>
                </a:solidFill>
              </a:rPr>
              <a:t>Revolución energética en Norteamérica</a:t>
            </a:r>
            <a:br>
              <a:rPr lang="es-MX" sz="2800" b="1" dirty="0" smtClean="0">
                <a:solidFill>
                  <a:srgbClr val="5780AE"/>
                </a:solidFill>
              </a:rPr>
            </a:br>
            <a:r>
              <a:rPr lang="es-MX" sz="2800" b="1" dirty="0" smtClean="0">
                <a:solidFill>
                  <a:srgbClr val="5780AE"/>
                </a:solidFill>
              </a:rPr>
              <a:t> </a:t>
            </a:r>
            <a:br>
              <a:rPr lang="es-MX" sz="2800" b="1" dirty="0" smtClean="0">
                <a:solidFill>
                  <a:srgbClr val="5780AE"/>
                </a:solidFill>
              </a:rPr>
            </a:br>
            <a:endParaRPr lang="es-MX" sz="2800" b="1" dirty="0">
              <a:solidFill>
                <a:srgbClr val="5780A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94553" y="6526060"/>
            <a:ext cx="1929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>
                <a:solidFill>
                  <a:srgbClr val="FF0000"/>
                </a:solidFill>
                <a:latin typeface="Arial Narrow" pitchFamily="34" charset="0"/>
              </a:rPr>
              <a:t>CONFIDENCIAL</a:t>
            </a:r>
            <a:endParaRPr lang="es-MX" sz="12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pic>
        <p:nvPicPr>
          <p:cNvPr id="256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0483" y="1360086"/>
            <a:ext cx="7012994" cy="5178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6" name="Text Placeholder 5"/>
          <p:cNvSpPr txBox="1">
            <a:spLocks/>
          </p:cNvSpPr>
          <p:nvPr/>
        </p:nvSpPr>
        <p:spPr>
          <a:xfrm>
            <a:off x="436744" y="721612"/>
            <a:ext cx="7536733" cy="64293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42925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01700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58888" indent="-18573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16075" indent="-18415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itchFamily="34" charset="0"/>
              <a:buChar char="•"/>
            </a:pPr>
            <a:r>
              <a:rPr lang="es-MX" sz="1800" b="0" dirty="0" smtClean="0"/>
              <a:t>En EE.UU. las reservas de gas pasaron de 6 a más de 100 años con nueva tecnología.</a:t>
            </a:r>
            <a:endParaRPr lang="es-MX" sz="1800" b="0" dirty="0"/>
          </a:p>
        </p:txBody>
      </p:sp>
    </p:spTree>
    <p:extLst>
      <p:ext uri="{BB962C8B-B14F-4D97-AF65-F5344CB8AC3E}">
        <p14:creationId xmlns:p14="http://schemas.microsoft.com/office/powerpoint/2010/main" val="371060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s-MX" sz="2400" b="1" dirty="0">
                <a:solidFill>
                  <a:srgbClr val="5780AE"/>
                </a:solidFill>
              </a:rPr>
              <a:t>México es el sexto lugar en reservas de gas </a:t>
            </a:r>
            <a:r>
              <a:rPr lang="es-MX" sz="2400" b="1" dirty="0" err="1" smtClean="0">
                <a:solidFill>
                  <a:srgbClr val="5780AE"/>
                </a:solidFill>
              </a:rPr>
              <a:t>shale</a:t>
            </a:r>
            <a:r>
              <a:rPr lang="es-MX" sz="2400" b="1" dirty="0">
                <a:solidFill>
                  <a:srgbClr val="5780AE"/>
                </a:solidFill>
              </a:rPr>
              <a:t/>
            </a:r>
            <a:br>
              <a:rPr lang="es-MX" sz="2400" b="1" dirty="0">
                <a:solidFill>
                  <a:srgbClr val="5780AE"/>
                </a:solidFill>
              </a:rPr>
            </a:br>
            <a:endParaRPr lang="es-MX" sz="2400" b="1" dirty="0">
              <a:solidFill>
                <a:srgbClr val="5780AE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3815891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s-MX" sz="1000" dirty="0"/>
              <a:t>Fuente: EIA</a:t>
            </a:r>
          </a:p>
        </p:txBody>
      </p:sp>
      <p:sp>
        <p:nvSpPr>
          <p:cNvPr id="7" name="Slide Number Placeholder 3"/>
          <p:cNvSpPr txBox="1">
            <a:spLocks/>
          </p:cNvSpPr>
          <p:nvPr/>
        </p:nvSpPr>
        <p:spPr>
          <a:xfrm>
            <a:off x="8100490" y="6356350"/>
            <a:ext cx="586310" cy="36512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7243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12"/>
          <p:cNvSpPr/>
          <p:nvPr/>
        </p:nvSpPr>
        <p:spPr bwMode="auto">
          <a:xfrm>
            <a:off x="496174" y="3992540"/>
            <a:ext cx="3285462" cy="543739"/>
          </a:xfrm>
          <a:prstGeom prst="homePlate">
            <a:avLst>
              <a:gd name="adj" fmla="val 53455"/>
            </a:avLst>
          </a:prstGeom>
          <a:solidFill>
            <a:srgbClr val="24502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Virtualmente elimina </a:t>
            </a:r>
            <a:r>
              <a:rPr kumimoji="0" lang="es-MX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O</a:t>
            </a:r>
            <a:r>
              <a:rPr lang="es-MX" sz="1600" baseline="-25000" dirty="0" smtClean="0">
                <a:solidFill>
                  <a:schemeClr val="bg1"/>
                </a:solidFill>
              </a:rPr>
              <a:t>2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5811" y="1392865"/>
            <a:ext cx="4167779" cy="920233"/>
          </a:xfrm>
        </p:spPr>
        <p:txBody>
          <a:bodyPr/>
          <a:lstStyle/>
          <a:p>
            <a:pPr algn="ctr"/>
            <a:r>
              <a:rPr lang="es-MX" sz="2000" dirty="0" smtClean="0"/>
              <a:t>Emisiones de gas natural comparadas con las del carbón en generación de electricidad</a:t>
            </a:r>
            <a:endParaRPr lang="es-MX" sz="2000" dirty="0"/>
          </a:p>
        </p:txBody>
      </p:sp>
      <p:sp>
        <p:nvSpPr>
          <p:cNvPr id="11" name="Pentagon 10"/>
          <p:cNvSpPr/>
          <p:nvPr/>
        </p:nvSpPr>
        <p:spPr bwMode="auto">
          <a:xfrm>
            <a:off x="496174" y="2534102"/>
            <a:ext cx="1658679" cy="543739"/>
          </a:xfrm>
          <a:prstGeom prst="homePlate">
            <a:avLst>
              <a:gd name="adj" fmla="val 53455"/>
            </a:avLst>
          </a:prstGeom>
          <a:solidFill>
            <a:srgbClr val="403C78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duce</a:t>
            </a:r>
            <a:r>
              <a:rPr kumimoji="0" lang="es-MX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CO</a:t>
            </a:r>
            <a:r>
              <a:rPr kumimoji="0" lang="es-MX" sz="1600" b="1" i="0" u="none" strike="noStrike" cap="none" normalizeH="0" baseline="-2500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2" name="Pentagon 11"/>
          <p:cNvSpPr/>
          <p:nvPr/>
        </p:nvSpPr>
        <p:spPr bwMode="auto">
          <a:xfrm>
            <a:off x="496174" y="3263321"/>
            <a:ext cx="2682950" cy="543739"/>
          </a:xfrm>
          <a:prstGeom prst="homePlate">
            <a:avLst>
              <a:gd name="adj" fmla="val 53455"/>
            </a:avLst>
          </a:prstGeom>
          <a:solidFill>
            <a:srgbClr val="548E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duce</a:t>
            </a:r>
            <a:r>
              <a:rPr kumimoji="0" lang="es-MX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NO</a:t>
            </a:r>
            <a:r>
              <a:rPr lang="es-MX" sz="1600" baseline="-25000" dirty="0" smtClean="0">
                <a:solidFill>
                  <a:schemeClr val="bg1"/>
                </a:solidFill>
              </a:rPr>
              <a:t>X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5" name="Pentagon 14"/>
          <p:cNvSpPr/>
          <p:nvPr/>
        </p:nvSpPr>
        <p:spPr bwMode="auto">
          <a:xfrm>
            <a:off x="496174" y="4721759"/>
            <a:ext cx="3285462" cy="543739"/>
          </a:xfrm>
          <a:prstGeom prst="homePlate">
            <a:avLst>
              <a:gd name="adj" fmla="val 53455"/>
            </a:avLst>
          </a:prstGeom>
          <a:solidFill>
            <a:srgbClr val="90B86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Virtualmente sin </a:t>
            </a:r>
            <a:r>
              <a:rPr kumimoji="0" lang="es-MX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artículas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118987" y="2604983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50%</a:t>
            </a:r>
            <a:endParaRPr lang="es-MX" sz="1800" dirty="0"/>
          </a:p>
        </p:txBody>
      </p:sp>
      <p:sp>
        <p:nvSpPr>
          <p:cNvPr id="18" name="TextBox 17"/>
          <p:cNvSpPr txBox="1"/>
          <p:nvPr/>
        </p:nvSpPr>
        <p:spPr>
          <a:xfrm>
            <a:off x="3121995" y="3342176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80%</a:t>
            </a:r>
            <a:endParaRPr lang="es-MX" sz="1800" dirty="0"/>
          </a:p>
        </p:txBody>
      </p:sp>
      <p:sp>
        <p:nvSpPr>
          <p:cNvPr id="19" name="TextBox 18"/>
          <p:cNvSpPr txBox="1"/>
          <p:nvPr/>
        </p:nvSpPr>
        <p:spPr>
          <a:xfrm>
            <a:off x="3698899" y="4068738"/>
            <a:ext cx="966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99.96%</a:t>
            </a:r>
            <a:endParaRPr lang="es-MX" sz="1800" dirty="0"/>
          </a:p>
        </p:txBody>
      </p:sp>
      <p:sp>
        <p:nvSpPr>
          <p:cNvPr id="20" name="Pentagon 19"/>
          <p:cNvSpPr/>
          <p:nvPr/>
        </p:nvSpPr>
        <p:spPr bwMode="auto">
          <a:xfrm>
            <a:off x="496174" y="5450978"/>
            <a:ext cx="3285462" cy="543739"/>
          </a:xfrm>
          <a:prstGeom prst="homePlate">
            <a:avLst>
              <a:gd name="adj" fmla="val 53455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limina </a:t>
            </a:r>
            <a:r>
              <a:rPr kumimoji="0" lang="es-MX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l mercurio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670546" y="4805929"/>
            <a:ext cx="966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99.74%</a:t>
            </a:r>
            <a:endParaRPr lang="es-MX" sz="1800" dirty="0"/>
          </a:p>
        </p:txBody>
      </p:sp>
      <p:sp>
        <p:nvSpPr>
          <p:cNvPr id="22" name="TextBox 21"/>
          <p:cNvSpPr txBox="1"/>
          <p:nvPr/>
        </p:nvSpPr>
        <p:spPr>
          <a:xfrm>
            <a:off x="3812800" y="5543120"/>
            <a:ext cx="7745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100%</a:t>
            </a:r>
            <a:endParaRPr lang="es-MX" sz="1800" dirty="0"/>
          </a:p>
        </p:txBody>
      </p:sp>
      <p:sp>
        <p:nvSpPr>
          <p:cNvPr id="2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82292"/>
          </a:xfrm>
        </p:spPr>
        <p:txBody>
          <a:bodyPr/>
          <a:lstStyle/>
          <a:p>
            <a:pPr algn="l"/>
            <a:r>
              <a:rPr lang="es-MX" sz="2400" b="1" dirty="0">
                <a:solidFill>
                  <a:srgbClr val="5780AE"/>
                </a:solidFill>
              </a:rPr>
              <a:t>Gas natural </a:t>
            </a:r>
            <a:r>
              <a:rPr lang="es-MX" sz="2400" b="1" dirty="0" smtClean="0">
                <a:solidFill>
                  <a:srgbClr val="5780AE"/>
                </a:solidFill>
              </a:rPr>
              <a:t>combustible </a:t>
            </a:r>
            <a:r>
              <a:rPr lang="es-MX" sz="2400" b="1" dirty="0">
                <a:solidFill>
                  <a:srgbClr val="5780AE"/>
                </a:solidFill>
              </a:rPr>
              <a:t>más </a:t>
            </a:r>
            <a:r>
              <a:rPr lang="es-MX" sz="2400" b="1" dirty="0" smtClean="0">
                <a:solidFill>
                  <a:srgbClr val="5780AE"/>
                </a:solidFill>
              </a:rPr>
              <a:t>limpio para apoyar reducción de emisiones</a:t>
            </a:r>
            <a:endParaRPr lang="es-MX" sz="2400" b="1" dirty="0">
              <a:solidFill>
                <a:srgbClr val="5780AE"/>
              </a:solidFill>
            </a:endParaRPr>
          </a:p>
        </p:txBody>
      </p:sp>
      <p:sp>
        <p:nvSpPr>
          <p:cNvPr id="24" name="Pentagon 23"/>
          <p:cNvSpPr/>
          <p:nvPr/>
        </p:nvSpPr>
        <p:spPr bwMode="auto">
          <a:xfrm>
            <a:off x="4837977" y="3985445"/>
            <a:ext cx="3083280" cy="543739"/>
          </a:xfrm>
          <a:prstGeom prst="homePlate">
            <a:avLst>
              <a:gd name="adj" fmla="val 53455"/>
            </a:avLst>
          </a:prstGeom>
          <a:solidFill>
            <a:srgbClr val="24502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duce </a:t>
            </a:r>
            <a:r>
              <a:rPr lang="es-MX" sz="1600" dirty="0" smtClean="0">
                <a:solidFill>
                  <a:schemeClr val="bg1"/>
                </a:solidFill>
              </a:rPr>
              <a:t>NO</a:t>
            </a:r>
            <a:r>
              <a:rPr lang="es-MX" sz="1600" baseline="-25000" dirty="0" smtClean="0">
                <a:solidFill>
                  <a:schemeClr val="bg1"/>
                </a:solidFill>
              </a:rPr>
              <a:t>X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1"/>
          </p:nvPr>
        </p:nvSpPr>
        <p:spPr>
          <a:xfrm>
            <a:off x="4607613" y="1385770"/>
            <a:ext cx="4167779" cy="920233"/>
          </a:xfrm>
        </p:spPr>
        <p:txBody>
          <a:bodyPr/>
          <a:lstStyle/>
          <a:p>
            <a:pPr algn="ctr"/>
            <a:r>
              <a:rPr lang="es-MX" sz="2000" dirty="0" smtClean="0"/>
              <a:t>Emisiones de gas natural comparadas con las de diesel o gasolina en vehículos</a:t>
            </a:r>
            <a:endParaRPr lang="es-MX" sz="2000" dirty="0"/>
          </a:p>
        </p:txBody>
      </p:sp>
      <p:sp>
        <p:nvSpPr>
          <p:cNvPr id="26" name="Pentagon 25"/>
          <p:cNvSpPr/>
          <p:nvPr/>
        </p:nvSpPr>
        <p:spPr bwMode="auto">
          <a:xfrm>
            <a:off x="4837976" y="2527007"/>
            <a:ext cx="1467131" cy="543739"/>
          </a:xfrm>
          <a:prstGeom prst="homePlate">
            <a:avLst>
              <a:gd name="adj" fmla="val 53455"/>
            </a:avLst>
          </a:prstGeom>
          <a:solidFill>
            <a:srgbClr val="403C78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Menor</a:t>
            </a:r>
            <a:r>
              <a:rPr kumimoji="0" lang="es-MX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CO</a:t>
            </a:r>
            <a:r>
              <a:rPr kumimoji="0" lang="es-MX" sz="1600" b="1" i="0" u="none" strike="noStrike" cap="none" normalizeH="0" baseline="-2500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2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7" name="Pentagon 26"/>
          <p:cNvSpPr/>
          <p:nvPr/>
        </p:nvSpPr>
        <p:spPr bwMode="auto">
          <a:xfrm>
            <a:off x="4837976" y="3256226"/>
            <a:ext cx="2711140" cy="543739"/>
          </a:xfrm>
          <a:prstGeom prst="homePlate">
            <a:avLst>
              <a:gd name="adj" fmla="val 53455"/>
            </a:avLst>
          </a:prstGeom>
          <a:solidFill>
            <a:srgbClr val="548E9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duce CO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8" name="Pentagon 27"/>
          <p:cNvSpPr/>
          <p:nvPr/>
        </p:nvSpPr>
        <p:spPr bwMode="auto">
          <a:xfrm>
            <a:off x="4837976" y="4714664"/>
            <a:ext cx="3285462" cy="543739"/>
          </a:xfrm>
          <a:prstGeom prst="homePlate">
            <a:avLst>
              <a:gd name="adj" fmla="val 53455"/>
            </a:avLst>
          </a:prstGeom>
          <a:solidFill>
            <a:srgbClr val="90B86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duce </a:t>
            </a:r>
            <a:r>
              <a:rPr kumimoji="0" lang="es-MX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artículas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262017" y="2597888"/>
            <a:ext cx="10438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20 -30%</a:t>
            </a:r>
            <a:endParaRPr lang="es-MX" sz="1800" dirty="0"/>
          </a:p>
        </p:txBody>
      </p:sp>
      <p:sp>
        <p:nvSpPr>
          <p:cNvPr id="30" name="TextBox 29"/>
          <p:cNvSpPr txBox="1"/>
          <p:nvPr/>
        </p:nvSpPr>
        <p:spPr>
          <a:xfrm>
            <a:off x="7456258" y="3335081"/>
            <a:ext cx="1107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70 - 90%</a:t>
            </a:r>
            <a:endParaRPr lang="es-MX" sz="1800" dirty="0"/>
          </a:p>
        </p:txBody>
      </p:sp>
      <p:sp>
        <p:nvSpPr>
          <p:cNvPr id="31" name="TextBox 30"/>
          <p:cNvSpPr txBox="1"/>
          <p:nvPr/>
        </p:nvSpPr>
        <p:spPr>
          <a:xfrm>
            <a:off x="7863839" y="4061643"/>
            <a:ext cx="1107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75 - 95%</a:t>
            </a:r>
            <a:endParaRPr lang="es-MX" sz="1800" dirty="0"/>
          </a:p>
        </p:txBody>
      </p:sp>
      <p:sp>
        <p:nvSpPr>
          <p:cNvPr id="32" name="Pentagon 31"/>
          <p:cNvSpPr/>
          <p:nvPr/>
        </p:nvSpPr>
        <p:spPr bwMode="auto">
          <a:xfrm>
            <a:off x="4837976" y="5443883"/>
            <a:ext cx="3285462" cy="543739"/>
          </a:xfrm>
          <a:prstGeom prst="homePlate">
            <a:avLst>
              <a:gd name="adj" fmla="val 53455"/>
            </a:avLst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kumimoji="0" lang="es-MX" sz="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kumimoji="0" lang="es-MX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Reduce VOC</a:t>
            </a:r>
            <a:endParaRPr lang="es-MX" sz="1600" dirty="0" smtClean="0">
              <a:solidFill>
                <a:schemeClr val="bg1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s-MX" sz="800" b="1" i="0" u="none" strike="noStrike" cap="none" normalizeH="0" baseline="-2500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8172648" y="4798834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90%</a:t>
            </a:r>
            <a:endParaRPr lang="es-MX" sz="1800" dirty="0"/>
          </a:p>
        </p:txBody>
      </p:sp>
      <p:sp>
        <p:nvSpPr>
          <p:cNvPr id="34" name="TextBox 33"/>
          <p:cNvSpPr txBox="1"/>
          <p:nvPr/>
        </p:nvSpPr>
        <p:spPr>
          <a:xfrm>
            <a:off x="8218722" y="5536025"/>
            <a:ext cx="646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dirty="0" smtClean="0"/>
              <a:t>89%</a:t>
            </a:r>
            <a:endParaRPr lang="es-MX" sz="1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417837" y="6436995"/>
            <a:ext cx="557212" cy="244475"/>
          </a:xfrm>
        </p:spPr>
        <p:txBody>
          <a:bodyPr/>
          <a:lstStyle/>
          <a:p>
            <a:pPr>
              <a:defRPr/>
            </a:pPr>
            <a:fld id="{997D7B07-47A9-41B5-8184-5DA007813DC0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537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80" name="Group 1979"/>
          <p:cNvGrpSpPr/>
          <p:nvPr/>
        </p:nvGrpSpPr>
        <p:grpSpPr>
          <a:xfrm>
            <a:off x="4476182" y="725891"/>
            <a:ext cx="3939701" cy="2741405"/>
            <a:chOff x="2198688" y="2392363"/>
            <a:chExt cx="4389437" cy="305435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981" name="Freeform 9"/>
            <p:cNvSpPr>
              <a:spLocks/>
            </p:cNvSpPr>
            <p:nvPr/>
          </p:nvSpPr>
          <p:spPr bwMode="auto">
            <a:xfrm>
              <a:off x="4508500" y="4316413"/>
              <a:ext cx="233363" cy="268287"/>
            </a:xfrm>
            <a:custGeom>
              <a:avLst/>
              <a:gdLst>
                <a:gd name="T0" fmla="*/ 1268762 w 293"/>
                <a:gd name="T1" fmla="*/ 103956450 h 338"/>
                <a:gd name="T2" fmla="*/ 5075048 w 293"/>
                <a:gd name="T3" fmla="*/ 93875844 h 338"/>
                <a:gd name="T4" fmla="*/ 9515317 w 293"/>
                <a:gd name="T5" fmla="*/ 93245607 h 338"/>
                <a:gd name="T6" fmla="*/ 16493109 w 293"/>
                <a:gd name="T7" fmla="*/ 96395995 h 338"/>
                <a:gd name="T8" fmla="*/ 26642409 w 293"/>
                <a:gd name="T9" fmla="*/ 95765759 h 338"/>
                <a:gd name="T10" fmla="*/ 29814712 w 293"/>
                <a:gd name="T11" fmla="*/ 85685153 h 338"/>
                <a:gd name="T12" fmla="*/ 32351439 w 293"/>
                <a:gd name="T13" fmla="*/ 84424680 h 338"/>
                <a:gd name="T14" fmla="*/ 43770297 w 293"/>
                <a:gd name="T15" fmla="*/ 88835541 h 338"/>
                <a:gd name="T16" fmla="*/ 48844548 w 293"/>
                <a:gd name="T17" fmla="*/ 91985135 h 338"/>
                <a:gd name="T18" fmla="*/ 53919596 w 293"/>
                <a:gd name="T19" fmla="*/ 89464983 h 338"/>
                <a:gd name="T20" fmla="*/ 56457120 w 293"/>
                <a:gd name="T21" fmla="*/ 81904529 h 338"/>
                <a:gd name="T22" fmla="*/ 62800930 w 293"/>
                <a:gd name="T23" fmla="*/ 62373553 h 338"/>
                <a:gd name="T24" fmla="*/ 71681468 w 293"/>
                <a:gd name="T25" fmla="*/ 56703013 h 338"/>
                <a:gd name="T26" fmla="*/ 77390498 w 293"/>
                <a:gd name="T27" fmla="*/ 61743316 h 338"/>
                <a:gd name="T28" fmla="*/ 89443339 w 293"/>
                <a:gd name="T29" fmla="*/ 61743316 h 338"/>
                <a:gd name="T30" fmla="*/ 98323876 w 293"/>
                <a:gd name="T31" fmla="*/ 54182862 h 338"/>
                <a:gd name="T32" fmla="*/ 91346084 w 293"/>
                <a:gd name="T33" fmla="*/ 47252643 h 338"/>
                <a:gd name="T34" fmla="*/ 88809356 w 293"/>
                <a:gd name="T35" fmla="*/ 35282122 h 338"/>
                <a:gd name="T36" fmla="*/ 86905815 w 293"/>
                <a:gd name="T37" fmla="*/ 26461194 h 338"/>
                <a:gd name="T38" fmla="*/ 90712101 w 293"/>
                <a:gd name="T39" fmla="*/ 20161212 h 338"/>
                <a:gd name="T40" fmla="*/ 95152369 w 293"/>
                <a:gd name="T41" fmla="*/ 13230994 h 338"/>
                <a:gd name="T42" fmla="*/ 110376717 w 293"/>
                <a:gd name="T43" fmla="*/ 22051128 h 338"/>
                <a:gd name="T44" fmla="*/ 123698319 w 293"/>
                <a:gd name="T45" fmla="*/ 25201516 h 338"/>
                <a:gd name="T46" fmla="*/ 126869826 w 293"/>
                <a:gd name="T47" fmla="*/ 24571279 h 338"/>
                <a:gd name="T48" fmla="*/ 132578857 w 293"/>
                <a:gd name="T49" fmla="*/ 27721667 h 338"/>
                <a:gd name="T50" fmla="*/ 137653904 w 293"/>
                <a:gd name="T51" fmla="*/ 25201516 h 338"/>
                <a:gd name="T52" fmla="*/ 137653904 w 293"/>
                <a:gd name="T53" fmla="*/ 13860437 h 338"/>
                <a:gd name="T54" fmla="*/ 143997714 w 293"/>
                <a:gd name="T55" fmla="*/ 3150388 h 338"/>
                <a:gd name="T56" fmla="*/ 154147014 w 293"/>
                <a:gd name="T57" fmla="*/ 1259679 h 338"/>
                <a:gd name="T58" fmla="*/ 155415776 w 293"/>
                <a:gd name="T59" fmla="*/ 5040303 h 338"/>
                <a:gd name="T60" fmla="*/ 163662330 w 293"/>
                <a:gd name="T61" fmla="*/ 11340285 h 338"/>
                <a:gd name="T62" fmla="*/ 171274106 w 293"/>
                <a:gd name="T63" fmla="*/ 29611582 h 338"/>
                <a:gd name="T64" fmla="*/ 183961725 w 293"/>
                <a:gd name="T65" fmla="*/ 54813098 h 338"/>
                <a:gd name="T66" fmla="*/ 176983933 w 293"/>
                <a:gd name="T67" fmla="*/ 56073570 h 338"/>
                <a:gd name="T68" fmla="*/ 169371361 w 293"/>
                <a:gd name="T69" fmla="*/ 63003789 h 338"/>
                <a:gd name="T70" fmla="*/ 157953300 w 293"/>
                <a:gd name="T71" fmla="*/ 64263468 h 338"/>
                <a:gd name="T72" fmla="*/ 150340728 w 293"/>
                <a:gd name="T73" fmla="*/ 59853401 h 338"/>
                <a:gd name="T74" fmla="*/ 140825411 w 293"/>
                <a:gd name="T75" fmla="*/ 85685153 h 338"/>
                <a:gd name="T76" fmla="*/ 130041333 w 293"/>
                <a:gd name="T77" fmla="*/ 100806062 h 338"/>
                <a:gd name="T78" fmla="*/ 125601064 w 293"/>
                <a:gd name="T79" fmla="*/ 108995959 h 338"/>
                <a:gd name="T80" fmla="*/ 123698319 w 293"/>
                <a:gd name="T81" fmla="*/ 120967275 h 338"/>
                <a:gd name="T82" fmla="*/ 106570431 w 293"/>
                <a:gd name="T83" fmla="*/ 129787408 h 338"/>
                <a:gd name="T84" fmla="*/ 95152369 w 293"/>
                <a:gd name="T85" fmla="*/ 132307560 h 338"/>
                <a:gd name="T86" fmla="*/ 86905815 w 293"/>
                <a:gd name="T87" fmla="*/ 158769548 h 338"/>
                <a:gd name="T88" fmla="*/ 78025277 w 293"/>
                <a:gd name="T89" fmla="*/ 168850154 h 338"/>
                <a:gd name="T90" fmla="*/ 86905815 w 293"/>
                <a:gd name="T91" fmla="*/ 177040051 h 338"/>
                <a:gd name="T92" fmla="*/ 92614845 w 293"/>
                <a:gd name="T93" fmla="*/ 178930760 h 338"/>
                <a:gd name="T94" fmla="*/ 95152369 w 293"/>
                <a:gd name="T95" fmla="*/ 183971063 h 338"/>
                <a:gd name="T96" fmla="*/ 89443339 w 293"/>
                <a:gd name="T97" fmla="*/ 207912106 h 338"/>
                <a:gd name="T98" fmla="*/ 85637053 w 293"/>
                <a:gd name="T99" fmla="*/ 203502039 h 338"/>
                <a:gd name="T100" fmla="*/ 58994644 w 293"/>
                <a:gd name="T101" fmla="*/ 206652427 h 338"/>
                <a:gd name="T102" fmla="*/ 43770297 w 293"/>
                <a:gd name="T103" fmla="*/ 198461736 h 338"/>
                <a:gd name="T104" fmla="*/ 38695249 w 293"/>
                <a:gd name="T105" fmla="*/ 189011366 h 338"/>
                <a:gd name="T106" fmla="*/ 30448695 w 293"/>
                <a:gd name="T107" fmla="*/ 180190439 h 338"/>
                <a:gd name="T108" fmla="*/ 15859126 w 293"/>
                <a:gd name="T109" fmla="*/ 165069530 h 338"/>
                <a:gd name="T110" fmla="*/ 11418061 w 293"/>
                <a:gd name="T111" fmla="*/ 160029227 h 338"/>
                <a:gd name="T112" fmla="*/ 5709031 w 293"/>
                <a:gd name="T113" fmla="*/ 135457948 h 338"/>
                <a:gd name="T114" fmla="*/ 0 w 293"/>
                <a:gd name="T115" fmla="*/ 114666499 h 33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93"/>
                <a:gd name="T175" fmla="*/ 0 h 338"/>
                <a:gd name="T176" fmla="*/ 293 w 293"/>
                <a:gd name="T177" fmla="*/ 338 h 33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93" h="338">
                  <a:moveTo>
                    <a:pt x="0" y="182"/>
                  </a:moveTo>
                  <a:lnTo>
                    <a:pt x="2" y="165"/>
                  </a:lnTo>
                  <a:lnTo>
                    <a:pt x="7" y="160"/>
                  </a:lnTo>
                  <a:lnTo>
                    <a:pt x="8" y="149"/>
                  </a:lnTo>
                  <a:lnTo>
                    <a:pt x="13" y="147"/>
                  </a:lnTo>
                  <a:lnTo>
                    <a:pt x="15" y="148"/>
                  </a:lnTo>
                  <a:lnTo>
                    <a:pt x="21" y="148"/>
                  </a:lnTo>
                  <a:lnTo>
                    <a:pt x="26" y="153"/>
                  </a:lnTo>
                  <a:lnTo>
                    <a:pt x="38" y="154"/>
                  </a:lnTo>
                  <a:lnTo>
                    <a:pt x="42" y="152"/>
                  </a:lnTo>
                  <a:lnTo>
                    <a:pt x="43" y="149"/>
                  </a:lnTo>
                  <a:lnTo>
                    <a:pt x="47" y="136"/>
                  </a:lnTo>
                  <a:lnTo>
                    <a:pt x="49" y="134"/>
                  </a:lnTo>
                  <a:lnTo>
                    <a:pt x="51" y="134"/>
                  </a:lnTo>
                  <a:lnTo>
                    <a:pt x="61" y="136"/>
                  </a:lnTo>
                  <a:lnTo>
                    <a:pt x="69" y="141"/>
                  </a:lnTo>
                  <a:lnTo>
                    <a:pt x="73" y="142"/>
                  </a:lnTo>
                  <a:lnTo>
                    <a:pt x="77" y="146"/>
                  </a:lnTo>
                  <a:lnTo>
                    <a:pt x="79" y="146"/>
                  </a:lnTo>
                  <a:lnTo>
                    <a:pt x="85" y="142"/>
                  </a:lnTo>
                  <a:lnTo>
                    <a:pt x="89" y="137"/>
                  </a:lnTo>
                  <a:lnTo>
                    <a:pt x="89" y="130"/>
                  </a:lnTo>
                  <a:lnTo>
                    <a:pt x="90" y="119"/>
                  </a:lnTo>
                  <a:lnTo>
                    <a:pt x="99" y="99"/>
                  </a:lnTo>
                  <a:lnTo>
                    <a:pt x="102" y="92"/>
                  </a:lnTo>
                  <a:lnTo>
                    <a:pt x="113" y="90"/>
                  </a:lnTo>
                  <a:lnTo>
                    <a:pt x="114" y="95"/>
                  </a:lnTo>
                  <a:lnTo>
                    <a:pt x="122" y="98"/>
                  </a:lnTo>
                  <a:lnTo>
                    <a:pt x="129" y="102"/>
                  </a:lnTo>
                  <a:lnTo>
                    <a:pt x="141" y="98"/>
                  </a:lnTo>
                  <a:lnTo>
                    <a:pt x="144" y="92"/>
                  </a:lnTo>
                  <a:lnTo>
                    <a:pt x="155" y="86"/>
                  </a:lnTo>
                  <a:lnTo>
                    <a:pt x="155" y="75"/>
                  </a:lnTo>
                  <a:lnTo>
                    <a:pt x="144" y="75"/>
                  </a:lnTo>
                  <a:lnTo>
                    <a:pt x="140" y="69"/>
                  </a:lnTo>
                  <a:lnTo>
                    <a:pt x="140" y="56"/>
                  </a:lnTo>
                  <a:lnTo>
                    <a:pt x="137" y="53"/>
                  </a:lnTo>
                  <a:lnTo>
                    <a:pt x="137" y="42"/>
                  </a:lnTo>
                  <a:lnTo>
                    <a:pt x="141" y="36"/>
                  </a:lnTo>
                  <a:lnTo>
                    <a:pt x="143" y="32"/>
                  </a:lnTo>
                  <a:lnTo>
                    <a:pt x="146" y="22"/>
                  </a:lnTo>
                  <a:lnTo>
                    <a:pt x="150" y="21"/>
                  </a:lnTo>
                  <a:lnTo>
                    <a:pt x="162" y="26"/>
                  </a:lnTo>
                  <a:lnTo>
                    <a:pt x="174" y="35"/>
                  </a:lnTo>
                  <a:lnTo>
                    <a:pt x="188" y="41"/>
                  </a:lnTo>
                  <a:lnTo>
                    <a:pt x="195" y="40"/>
                  </a:lnTo>
                  <a:lnTo>
                    <a:pt x="198" y="39"/>
                  </a:lnTo>
                  <a:lnTo>
                    <a:pt x="200" y="39"/>
                  </a:lnTo>
                  <a:lnTo>
                    <a:pt x="206" y="41"/>
                  </a:lnTo>
                  <a:lnTo>
                    <a:pt x="209" y="44"/>
                  </a:lnTo>
                  <a:lnTo>
                    <a:pt x="213" y="45"/>
                  </a:lnTo>
                  <a:lnTo>
                    <a:pt x="217" y="40"/>
                  </a:lnTo>
                  <a:lnTo>
                    <a:pt x="217" y="26"/>
                  </a:lnTo>
                  <a:lnTo>
                    <a:pt x="217" y="22"/>
                  </a:lnTo>
                  <a:lnTo>
                    <a:pt x="218" y="17"/>
                  </a:lnTo>
                  <a:lnTo>
                    <a:pt x="227" y="5"/>
                  </a:lnTo>
                  <a:lnTo>
                    <a:pt x="234" y="0"/>
                  </a:lnTo>
                  <a:lnTo>
                    <a:pt x="243" y="2"/>
                  </a:lnTo>
                  <a:lnTo>
                    <a:pt x="242" y="6"/>
                  </a:lnTo>
                  <a:lnTo>
                    <a:pt x="245" y="8"/>
                  </a:lnTo>
                  <a:lnTo>
                    <a:pt x="254" y="2"/>
                  </a:lnTo>
                  <a:lnTo>
                    <a:pt x="258" y="18"/>
                  </a:lnTo>
                  <a:lnTo>
                    <a:pt x="259" y="21"/>
                  </a:lnTo>
                  <a:lnTo>
                    <a:pt x="270" y="47"/>
                  </a:lnTo>
                  <a:lnTo>
                    <a:pt x="293" y="83"/>
                  </a:lnTo>
                  <a:lnTo>
                    <a:pt x="290" y="87"/>
                  </a:lnTo>
                  <a:lnTo>
                    <a:pt x="284" y="89"/>
                  </a:lnTo>
                  <a:lnTo>
                    <a:pt x="279" y="89"/>
                  </a:lnTo>
                  <a:lnTo>
                    <a:pt x="275" y="90"/>
                  </a:lnTo>
                  <a:lnTo>
                    <a:pt x="267" y="100"/>
                  </a:lnTo>
                  <a:lnTo>
                    <a:pt x="261" y="102"/>
                  </a:lnTo>
                  <a:lnTo>
                    <a:pt x="249" y="102"/>
                  </a:lnTo>
                  <a:lnTo>
                    <a:pt x="240" y="95"/>
                  </a:lnTo>
                  <a:lnTo>
                    <a:pt x="237" y="95"/>
                  </a:lnTo>
                  <a:lnTo>
                    <a:pt x="235" y="107"/>
                  </a:lnTo>
                  <a:lnTo>
                    <a:pt x="222" y="136"/>
                  </a:lnTo>
                  <a:lnTo>
                    <a:pt x="206" y="155"/>
                  </a:lnTo>
                  <a:lnTo>
                    <a:pt x="205" y="160"/>
                  </a:lnTo>
                  <a:lnTo>
                    <a:pt x="198" y="167"/>
                  </a:lnTo>
                  <a:lnTo>
                    <a:pt x="198" y="173"/>
                  </a:lnTo>
                  <a:lnTo>
                    <a:pt x="200" y="189"/>
                  </a:lnTo>
                  <a:lnTo>
                    <a:pt x="195" y="192"/>
                  </a:lnTo>
                  <a:lnTo>
                    <a:pt x="179" y="198"/>
                  </a:lnTo>
                  <a:lnTo>
                    <a:pt x="168" y="206"/>
                  </a:lnTo>
                  <a:lnTo>
                    <a:pt x="156" y="209"/>
                  </a:lnTo>
                  <a:lnTo>
                    <a:pt x="150" y="210"/>
                  </a:lnTo>
                  <a:lnTo>
                    <a:pt x="140" y="214"/>
                  </a:lnTo>
                  <a:lnTo>
                    <a:pt x="137" y="252"/>
                  </a:lnTo>
                  <a:lnTo>
                    <a:pt x="133" y="258"/>
                  </a:lnTo>
                  <a:lnTo>
                    <a:pt x="123" y="268"/>
                  </a:lnTo>
                  <a:lnTo>
                    <a:pt x="123" y="272"/>
                  </a:lnTo>
                  <a:lnTo>
                    <a:pt x="137" y="281"/>
                  </a:lnTo>
                  <a:lnTo>
                    <a:pt x="144" y="285"/>
                  </a:lnTo>
                  <a:lnTo>
                    <a:pt x="146" y="284"/>
                  </a:lnTo>
                  <a:lnTo>
                    <a:pt x="146" y="287"/>
                  </a:lnTo>
                  <a:lnTo>
                    <a:pt x="150" y="292"/>
                  </a:lnTo>
                  <a:lnTo>
                    <a:pt x="144" y="332"/>
                  </a:lnTo>
                  <a:lnTo>
                    <a:pt x="141" y="330"/>
                  </a:lnTo>
                  <a:lnTo>
                    <a:pt x="138" y="324"/>
                  </a:lnTo>
                  <a:lnTo>
                    <a:pt x="135" y="323"/>
                  </a:lnTo>
                  <a:lnTo>
                    <a:pt x="139" y="338"/>
                  </a:lnTo>
                  <a:lnTo>
                    <a:pt x="93" y="328"/>
                  </a:lnTo>
                  <a:lnTo>
                    <a:pt x="90" y="324"/>
                  </a:lnTo>
                  <a:lnTo>
                    <a:pt x="69" y="315"/>
                  </a:lnTo>
                  <a:lnTo>
                    <a:pt x="63" y="308"/>
                  </a:lnTo>
                  <a:lnTo>
                    <a:pt x="61" y="300"/>
                  </a:lnTo>
                  <a:lnTo>
                    <a:pt x="49" y="290"/>
                  </a:lnTo>
                  <a:lnTo>
                    <a:pt x="48" y="286"/>
                  </a:lnTo>
                  <a:lnTo>
                    <a:pt x="31" y="273"/>
                  </a:lnTo>
                  <a:lnTo>
                    <a:pt x="25" y="262"/>
                  </a:lnTo>
                  <a:lnTo>
                    <a:pt x="21" y="261"/>
                  </a:lnTo>
                  <a:lnTo>
                    <a:pt x="18" y="254"/>
                  </a:lnTo>
                  <a:lnTo>
                    <a:pt x="15" y="219"/>
                  </a:lnTo>
                  <a:lnTo>
                    <a:pt x="9" y="215"/>
                  </a:lnTo>
                  <a:lnTo>
                    <a:pt x="1" y="198"/>
                  </a:lnTo>
                  <a:lnTo>
                    <a:pt x="0" y="182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2" name="Freeform 10"/>
            <p:cNvSpPr>
              <a:spLocks/>
            </p:cNvSpPr>
            <p:nvPr/>
          </p:nvSpPr>
          <p:spPr bwMode="auto">
            <a:xfrm>
              <a:off x="4606925" y="4348163"/>
              <a:ext cx="304800" cy="298450"/>
            </a:xfrm>
            <a:custGeom>
              <a:avLst/>
              <a:gdLst>
                <a:gd name="T0" fmla="*/ 10710863 w 384"/>
                <a:gd name="T1" fmla="*/ 109045872 h 377"/>
                <a:gd name="T2" fmla="*/ 35282188 w 384"/>
                <a:gd name="T3" fmla="*/ 99018902 h 377"/>
                <a:gd name="T4" fmla="*/ 47252731 w 384"/>
                <a:gd name="T5" fmla="*/ 79591153 h 377"/>
                <a:gd name="T6" fmla="*/ 70564375 w 384"/>
                <a:gd name="T7" fmla="*/ 41988828 h 377"/>
                <a:gd name="T8" fmla="*/ 86945788 w 384"/>
                <a:gd name="T9" fmla="*/ 38855498 h 377"/>
                <a:gd name="T10" fmla="*/ 101436488 w 384"/>
                <a:gd name="T11" fmla="*/ 30708684 h 377"/>
                <a:gd name="T12" fmla="*/ 109627194 w 384"/>
                <a:gd name="T13" fmla="*/ 14414264 h 377"/>
                <a:gd name="T14" fmla="*/ 126007813 w 384"/>
                <a:gd name="T15" fmla="*/ 18800767 h 377"/>
                <a:gd name="T16" fmla="*/ 139869069 w 384"/>
                <a:gd name="T17" fmla="*/ 22561078 h 377"/>
                <a:gd name="T18" fmla="*/ 151209375 w 384"/>
                <a:gd name="T19" fmla="*/ 23814252 h 377"/>
                <a:gd name="T20" fmla="*/ 165070631 w 384"/>
                <a:gd name="T21" fmla="*/ 23814252 h 377"/>
                <a:gd name="T22" fmla="*/ 164440394 w 384"/>
                <a:gd name="T23" fmla="*/ 3133329 h 377"/>
                <a:gd name="T24" fmla="*/ 180821013 w 384"/>
                <a:gd name="T25" fmla="*/ 3760312 h 377"/>
                <a:gd name="T26" fmla="*/ 178931094 w 384"/>
                <a:gd name="T27" fmla="*/ 21307905 h 377"/>
                <a:gd name="T28" fmla="*/ 202872975 w 384"/>
                <a:gd name="T29" fmla="*/ 29454719 h 377"/>
                <a:gd name="T30" fmla="*/ 209172969 w 384"/>
                <a:gd name="T31" fmla="*/ 38855498 h 377"/>
                <a:gd name="T32" fmla="*/ 217993913 w 384"/>
                <a:gd name="T33" fmla="*/ 44495966 h 377"/>
                <a:gd name="T34" fmla="*/ 209172969 w 384"/>
                <a:gd name="T35" fmla="*/ 68937200 h 377"/>
                <a:gd name="T36" fmla="*/ 201612500 w 384"/>
                <a:gd name="T37" fmla="*/ 78964170 h 377"/>
                <a:gd name="T38" fmla="*/ 191531875 w 384"/>
                <a:gd name="T39" fmla="*/ 73950685 h 377"/>
                <a:gd name="T40" fmla="*/ 180191569 w 384"/>
                <a:gd name="T41" fmla="*/ 88991932 h 377"/>
                <a:gd name="T42" fmla="*/ 167590788 w 384"/>
                <a:gd name="T43" fmla="*/ 95258590 h 377"/>
                <a:gd name="T44" fmla="*/ 182711725 w 384"/>
                <a:gd name="T45" fmla="*/ 93378434 h 377"/>
                <a:gd name="T46" fmla="*/ 173890781 w 384"/>
                <a:gd name="T47" fmla="*/ 109672854 h 377"/>
                <a:gd name="T48" fmla="*/ 178931094 w 384"/>
                <a:gd name="T49" fmla="*/ 142260903 h 377"/>
                <a:gd name="T50" fmla="*/ 197832663 w 384"/>
                <a:gd name="T51" fmla="*/ 132233933 h 377"/>
                <a:gd name="T52" fmla="*/ 228074538 w 384"/>
                <a:gd name="T53" fmla="*/ 102779214 h 377"/>
                <a:gd name="T54" fmla="*/ 240675319 w 384"/>
                <a:gd name="T55" fmla="*/ 115313322 h 377"/>
                <a:gd name="T56" fmla="*/ 223034225 w 384"/>
                <a:gd name="T57" fmla="*/ 139127574 h 377"/>
                <a:gd name="T58" fmla="*/ 210433444 w 384"/>
                <a:gd name="T59" fmla="*/ 149781526 h 377"/>
                <a:gd name="T60" fmla="*/ 201612500 w 384"/>
                <a:gd name="T61" fmla="*/ 153541838 h 377"/>
                <a:gd name="T62" fmla="*/ 218623356 w 384"/>
                <a:gd name="T63" fmla="*/ 173596569 h 377"/>
                <a:gd name="T64" fmla="*/ 214213281 w 384"/>
                <a:gd name="T65" fmla="*/ 188637025 h 377"/>
                <a:gd name="T66" fmla="*/ 202872975 w 384"/>
                <a:gd name="T67" fmla="*/ 217465553 h 377"/>
                <a:gd name="T68" fmla="*/ 189011719 w 384"/>
                <a:gd name="T69" fmla="*/ 230625852 h 377"/>
                <a:gd name="T70" fmla="*/ 172631100 w 384"/>
                <a:gd name="T71" fmla="*/ 236266320 h 377"/>
                <a:gd name="T72" fmla="*/ 154990006 w 384"/>
                <a:gd name="T73" fmla="*/ 233759181 h 377"/>
                <a:gd name="T74" fmla="*/ 154359769 w 384"/>
                <a:gd name="T75" fmla="*/ 224359194 h 377"/>
                <a:gd name="T76" fmla="*/ 149319456 w 384"/>
                <a:gd name="T77" fmla="*/ 211198103 h 377"/>
                <a:gd name="T78" fmla="*/ 131678363 w 384"/>
                <a:gd name="T79" fmla="*/ 206811600 h 377"/>
                <a:gd name="T80" fmla="*/ 115927188 w 384"/>
                <a:gd name="T81" fmla="*/ 211198103 h 377"/>
                <a:gd name="T82" fmla="*/ 109627194 w 384"/>
                <a:gd name="T83" fmla="*/ 186756869 h 377"/>
                <a:gd name="T84" fmla="*/ 95765938 w 384"/>
                <a:gd name="T85" fmla="*/ 186756869 h 377"/>
                <a:gd name="T86" fmla="*/ 77494606 w 384"/>
                <a:gd name="T87" fmla="*/ 203677480 h 377"/>
                <a:gd name="T88" fmla="*/ 62373669 w 384"/>
                <a:gd name="T89" fmla="*/ 198663995 h 377"/>
                <a:gd name="T90" fmla="*/ 57963594 w 384"/>
                <a:gd name="T91" fmla="*/ 187383851 h 377"/>
                <a:gd name="T92" fmla="*/ 42842656 w 384"/>
                <a:gd name="T93" fmla="*/ 166075946 h 377"/>
                <a:gd name="T94" fmla="*/ 18901569 w 384"/>
                <a:gd name="T95" fmla="*/ 160435479 h 377"/>
                <a:gd name="T96" fmla="*/ 13231019 w 384"/>
                <a:gd name="T97" fmla="*/ 153541838 h 37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84"/>
                <a:gd name="T148" fmla="*/ 0 h 377"/>
                <a:gd name="T149" fmla="*/ 384 w 384"/>
                <a:gd name="T150" fmla="*/ 377 h 37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84" h="377">
                  <a:moveTo>
                    <a:pt x="0" y="228"/>
                  </a:moveTo>
                  <a:lnTo>
                    <a:pt x="10" y="218"/>
                  </a:lnTo>
                  <a:lnTo>
                    <a:pt x="14" y="212"/>
                  </a:lnTo>
                  <a:lnTo>
                    <a:pt x="17" y="174"/>
                  </a:lnTo>
                  <a:lnTo>
                    <a:pt x="27" y="170"/>
                  </a:lnTo>
                  <a:lnTo>
                    <a:pt x="33" y="169"/>
                  </a:lnTo>
                  <a:lnTo>
                    <a:pt x="45" y="166"/>
                  </a:lnTo>
                  <a:lnTo>
                    <a:pt x="56" y="158"/>
                  </a:lnTo>
                  <a:lnTo>
                    <a:pt x="72" y="152"/>
                  </a:lnTo>
                  <a:lnTo>
                    <a:pt x="77" y="149"/>
                  </a:lnTo>
                  <a:lnTo>
                    <a:pt x="75" y="133"/>
                  </a:lnTo>
                  <a:lnTo>
                    <a:pt x="75" y="127"/>
                  </a:lnTo>
                  <a:lnTo>
                    <a:pt x="82" y="120"/>
                  </a:lnTo>
                  <a:lnTo>
                    <a:pt x="83" y="115"/>
                  </a:lnTo>
                  <a:lnTo>
                    <a:pt x="99" y="96"/>
                  </a:lnTo>
                  <a:lnTo>
                    <a:pt x="112" y="67"/>
                  </a:lnTo>
                  <a:lnTo>
                    <a:pt x="114" y="55"/>
                  </a:lnTo>
                  <a:lnTo>
                    <a:pt x="117" y="55"/>
                  </a:lnTo>
                  <a:lnTo>
                    <a:pt x="126" y="62"/>
                  </a:lnTo>
                  <a:lnTo>
                    <a:pt x="138" y="62"/>
                  </a:lnTo>
                  <a:lnTo>
                    <a:pt x="144" y="60"/>
                  </a:lnTo>
                  <a:lnTo>
                    <a:pt x="152" y="50"/>
                  </a:lnTo>
                  <a:lnTo>
                    <a:pt x="156" y="49"/>
                  </a:lnTo>
                  <a:lnTo>
                    <a:pt x="161" y="49"/>
                  </a:lnTo>
                  <a:lnTo>
                    <a:pt x="167" y="47"/>
                  </a:lnTo>
                  <a:lnTo>
                    <a:pt x="170" y="43"/>
                  </a:lnTo>
                  <a:lnTo>
                    <a:pt x="172" y="25"/>
                  </a:lnTo>
                  <a:lnTo>
                    <a:pt x="174" y="23"/>
                  </a:lnTo>
                  <a:lnTo>
                    <a:pt x="182" y="20"/>
                  </a:lnTo>
                  <a:lnTo>
                    <a:pt x="185" y="19"/>
                  </a:lnTo>
                  <a:lnTo>
                    <a:pt x="195" y="22"/>
                  </a:lnTo>
                  <a:lnTo>
                    <a:pt x="200" y="30"/>
                  </a:lnTo>
                  <a:lnTo>
                    <a:pt x="204" y="35"/>
                  </a:lnTo>
                  <a:lnTo>
                    <a:pt x="209" y="36"/>
                  </a:lnTo>
                  <a:lnTo>
                    <a:pt x="216" y="36"/>
                  </a:lnTo>
                  <a:lnTo>
                    <a:pt x="222" y="36"/>
                  </a:lnTo>
                  <a:lnTo>
                    <a:pt x="227" y="38"/>
                  </a:lnTo>
                  <a:lnTo>
                    <a:pt x="231" y="37"/>
                  </a:lnTo>
                  <a:lnTo>
                    <a:pt x="236" y="37"/>
                  </a:lnTo>
                  <a:lnTo>
                    <a:pt x="240" y="38"/>
                  </a:lnTo>
                  <a:lnTo>
                    <a:pt x="245" y="40"/>
                  </a:lnTo>
                  <a:lnTo>
                    <a:pt x="254" y="42"/>
                  </a:lnTo>
                  <a:lnTo>
                    <a:pt x="257" y="42"/>
                  </a:lnTo>
                  <a:lnTo>
                    <a:pt x="262" y="38"/>
                  </a:lnTo>
                  <a:lnTo>
                    <a:pt x="263" y="32"/>
                  </a:lnTo>
                  <a:lnTo>
                    <a:pt x="262" y="19"/>
                  </a:lnTo>
                  <a:lnTo>
                    <a:pt x="260" y="10"/>
                  </a:lnTo>
                  <a:lnTo>
                    <a:pt x="261" y="5"/>
                  </a:lnTo>
                  <a:lnTo>
                    <a:pt x="273" y="2"/>
                  </a:lnTo>
                  <a:lnTo>
                    <a:pt x="276" y="0"/>
                  </a:lnTo>
                  <a:lnTo>
                    <a:pt x="281" y="1"/>
                  </a:lnTo>
                  <a:lnTo>
                    <a:pt x="287" y="6"/>
                  </a:lnTo>
                  <a:lnTo>
                    <a:pt x="288" y="11"/>
                  </a:lnTo>
                  <a:lnTo>
                    <a:pt x="282" y="23"/>
                  </a:lnTo>
                  <a:lnTo>
                    <a:pt x="281" y="28"/>
                  </a:lnTo>
                  <a:lnTo>
                    <a:pt x="284" y="34"/>
                  </a:lnTo>
                  <a:lnTo>
                    <a:pt x="303" y="55"/>
                  </a:lnTo>
                  <a:lnTo>
                    <a:pt x="315" y="50"/>
                  </a:lnTo>
                  <a:lnTo>
                    <a:pt x="318" y="47"/>
                  </a:lnTo>
                  <a:lnTo>
                    <a:pt x="322" y="47"/>
                  </a:lnTo>
                  <a:lnTo>
                    <a:pt x="327" y="48"/>
                  </a:lnTo>
                  <a:lnTo>
                    <a:pt x="324" y="56"/>
                  </a:lnTo>
                  <a:lnTo>
                    <a:pt x="324" y="61"/>
                  </a:lnTo>
                  <a:lnTo>
                    <a:pt x="332" y="62"/>
                  </a:lnTo>
                  <a:lnTo>
                    <a:pt x="336" y="62"/>
                  </a:lnTo>
                  <a:lnTo>
                    <a:pt x="338" y="64"/>
                  </a:lnTo>
                  <a:lnTo>
                    <a:pt x="339" y="67"/>
                  </a:lnTo>
                  <a:lnTo>
                    <a:pt x="346" y="71"/>
                  </a:lnTo>
                  <a:lnTo>
                    <a:pt x="346" y="79"/>
                  </a:lnTo>
                  <a:lnTo>
                    <a:pt x="339" y="91"/>
                  </a:lnTo>
                  <a:lnTo>
                    <a:pt x="333" y="100"/>
                  </a:lnTo>
                  <a:lnTo>
                    <a:pt x="332" y="110"/>
                  </a:lnTo>
                  <a:lnTo>
                    <a:pt x="333" y="127"/>
                  </a:lnTo>
                  <a:lnTo>
                    <a:pt x="329" y="130"/>
                  </a:lnTo>
                  <a:lnTo>
                    <a:pt x="324" y="128"/>
                  </a:lnTo>
                  <a:lnTo>
                    <a:pt x="320" y="126"/>
                  </a:lnTo>
                  <a:lnTo>
                    <a:pt x="315" y="122"/>
                  </a:lnTo>
                  <a:lnTo>
                    <a:pt x="310" y="120"/>
                  </a:lnTo>
                  <a:lnTo>
                    <a:pt x="308" y="119"/>
                  </a:lnTo>
                  <a:lnTo>
                    <a:pt x="304" y="118"/>
                  </a:lnTo>
                  <a:lnTo>
                    <a:pt x="298" y="120"/>
                  </a:lnTo>
                  <a:lnTo>
                    <a:pt x="297" y="121"/>
                  </a:lnTo>
                  <a:lnTo>
                    <a:pt x="290" y="139"/>
                  </a:lnTo>
                  <a:lnTo>
                    <a:pt x="286" y="142"/>
                  </a:lnTo>
                  <a:lnTo>
                    <a:pt x="275" y="142"/>
                  </a:lnTo>
                  <a:lnTo>
                    <a:pt x="268" y="146"/>
                  </a:lnTo>
                  <a:lnTo>
                    <a:pt x="266" y="150"/>
                  </a:lnTo>
                  <a:lnTo>
                    <a:pt x="266" y="152"/>
                  </a:lnTo>
                  <a:lnTo>
                    <a:pt x="269" y="154"/>
                  </a:lnTo>
                  <a:lnTo>
                    <a:pt x="275" y="155"/>
                  </a:lnTo>
                  <a:lnTo>
                    <a:pt x="280" y="152"/>
                  </a:lnTo>
                  <a:lnTo>
                    <a:pt x="290" y="149"/>
                  </a:lnTo>
                  <a:lnTo>
                    <a:pt x="291" y="154"/>
                  </a:lnTo>
                  <a:lnTo>
                    <a:pt x="285" y="161"/>
                  </a:lnTo>
                  <a:lnTo>
                    <a:pt x="275" y="172"/>
                  </a:lnTo>
                  <a:lnTo>
                    <a:pt x="276" y="175"/>
                  </a:lnTo>
                  <a:lnTo>
                    <a:pt x="272" y="182"/>
                  </a:lnTo>
                  <a:lnTo>
                    <a:pt x="275" y="227"/>
                  </a:lnTo>
                  <a:lnTo>
                    <a:pt x="280" y="228"/>
                  </a:lnTo>
                  <a:lnTo>
                    <a:pt x="284" y="227"/>
                  </a:lnTo>
                  <a:lnTo>
                    <a:pt x="288" y="226"/>
                  </a:lnTo>
                  <a:lnTo>
                    <a:pt x="291" y="224"/>
                  </a:lnTo>
                  <a:lnTo>
                    <a:pt x="304" y="218"/>
                  </a:lnTo>
                  <a:lnTo>
                    <a:pt x="314" y="211"/>
                  </a:lnTo>
                  <a:lnTo>
                    <a:pt x="329" y="194"/>
                  </a:lnTo>
                  <a:lnTo>
                    <a:pt x="351" y="175"/>
                  </a:lnTo>
                  <a:lnTo>
                    <a:pt x="354" y="168"/>
                  </a:lnTo>
                  <a:lnTo>
                    <a:pt x="362" y="164"/>
                  </a:lnTo>
                  <a:lnTo>
                    <a:pt x="364" y="164"/>
                  </a:lnTo>
                  <a:lnTo>
                    <a:pt x="368" y="163"/>
                  </a:lnTo>
                  <a:lnTo>
                    <a:pt x="375" y="170"/>
                  </a:lnTo>
                  <a:lnTo>
                    <a:pt x="382" y="184"/>
                  </a:lnTo>
                  <a:lnTo>
                    <a:pt x="384" y="197"/>
                  </a:lnTo>
                  <a:lnTo>
                    <a:pt x="377" y="205"/>
                  </a:lnTo>
                  <a:lnTo>
                    <a:pt x="360" y="216"/>
                  </a:lnTo>
                  <a:lnTo>
                    <a:pt x="354" y="222"/>
                  </a:lnTo>
                  <a:lnTo>
                    <a:pt x="347" y="236"/>
                  </a:lnTo>
                  <a:lnTo>
                    <a:pt x="345" y="239"/>
                  </a:lnTo>
                  <a:lnTo>
                    <a:pt x="341" y="240"/>
                  </a:lnTo>
                  <a:lnTo>
                    <a:pt x="334" y="239"/>
                  </a:lnTo>
                  <a:lnTo>
                    <a:pt x="330" y="238"/>
                  </a:lnTo>
                  <a:lnTo>
                    <a:pt x="326" y="238"/>
                  </a:lnTo>
                  <a:lnTo>
                    <a:pt x="320" y="241"/>
                  </a:lnTo>
                  <a:lnTo>
                    <a:pt x="320" y="245"/>
                  </a:lnTo>
                  <a:lnTo>
                    <a:pt x="330" y="252"/>
                  </a:lnTo>
                  <a:lnTo>
                    <a:pt x="332" y="254"/>
                  </a:lnTo>
                  <a:lnTo>
                    <a:pt x="345" y="264"/>
                  </a:lnTo>
                  <a:lnTo>
                    <a:pt x="347" y="277"/>
                  </a:lnTo>
                  <a:lnTo>
                    <a:pt x="344" y="284"/>
                  </a:lnTo>
                  <a:lnTo>
                    <a:pt x="341" y="287"/>
                  </a:lnTo>
                  <a:lnTo>
                    <a:pt x="340" y="292"/>
                  </a:lnTo>
                  <a:lnTo>
                    <a:pt x="340" y="301"/>
                  </a:lnTo>
                  <a:lnTo>
                    <a:pt x="336" y="310"/>
                  </a:lnTo>
                  <a:lnTo>
                    <a:pt x="326" y="323"/>
                  </a:lnTo>
                  <a:lnTo>
                    <a:pt x="321" y="337"/>
                  </a:lnTo>
                  <a:lnTo>
                    <a:pt x="322" y="347"/>
                  </a:lnTo>
                  <a:lnTo>
                    <a:pt x="326" y="356"/>
                  </a:lnTo>
                  <a:lnTo>
                    <a:pt x="320" y="359"/>
                  </a:lnTo>
                  <a:lnTo>
                    <a:pt x="314" y="360"/>
                  </a:lnTo>
                  <a:lnTo>
                    <a:pt x="300" y="368"/>
                  </a:lnTo>
                  <a:lnTo>
                    <a:pt x="296" y="372"/>
                  </a:lnTo>
                  <a:lnTo>
                    <a:pt x="291" y="376"/>
                  </a:lnTo>
                  <a:lnTo>
                    <a:pt x="279" y="377"/>
                  </a:lnTo>
                  <a:lnTo>
                    <a:pt x="274" y="377"/>
                  </a:lnTo>
                  <a:lnTo>
                    <a:pt x="266" y="374"/>
                  </a:lnTo>
                  <a:lnTo>
                    <a:pt x="258" y="377"/>
                  </a:lnTo>
                  <a:lnTo>
                    <a:pt x="250" y="376"/>
                  </a:lnTo>
                  <a:lnTo>
                    <a:pt x="246" y="373"/>
                  </a:lnTo>
                  <a:lnTo>
                    <a:pt x="242" y="373"/>
                  </a:lnTo>
                  <a:lnTo>
                    <a:pt x="246" y="366"/>
                  </a:lnTo>
                  <a:lnTo>
                    <a:pt x="245" y="360"/>
                  </a:lnTo>
                  <a:lnTo>
                    <a:pt x="245" y="358"/>
                  </a:lnTo>
                  <a:lnTo>
                    <a:pt x="244" y="356"/>
                  </a:lnTo>
                  <a:lnTo>
                    <a:pt x="242" y="350"/>
                  </a:lnTo>
                  <a:lnTo>
                    <a:pt x="239" y="348"/>
                  </a:lnTo>
                  <a:lnTo>
                    <a:pt x="237" y="337"/>
                  </a:lnTo>
                  <a:lnTo>
                    <a:pt x="234" y="334"/>
                  </a:lnTo>
                  <a:lnTo>
                    <a:pt x="230" y="331"/>
                  </a:lnTo>
                  <a:lnTo>
                    <a:pt x="215" y="331"/>
                  </a:lnTo>
                  <a:lnTo>
                    <a:pt x="209" y="330"/>
                  </a:lnTo>
                  <a:lnTo>
                    <a:pt x="196" y="329"/>
                  </a:lnTo>
                  <a:lnTo>
                    <a:pt x="194" y="328"/>
                  </a:lnTo>
                  <a:lnTo>
                    <a:pt x="192" y="332"/>
                  </a:lnTo>
                  <a:lnTo>
                    <a:pt x="184" y="337"/>
                  </a:lnTo>
                  <a:lnTo>
                    <a:pt x="174" y="337"/>
                  </a:lnTo>
                  <a:lnTo>
                    <a:pt x="174" y="332"/>
                  </a:lnTo>
                  <a:lnTo>
                    <a:pt x="179" y="313"/>
                  </a:lnTo>
                  <a:lnTo>
                    <a:pt x="174" y="298"/>
                  </a:lnTo>
                  <a:lnTo>
                    <a:pt x="170" y="296"/>
                  </a:lnTo>
                  <a:lnTo>
                    <a:pt x="162" y="295"/>
                  </a:lnTo>
                  <a:lnTo>
                    <a:pt x="159" y="296"/>
                  </a:lnTo>
                  <a:lnTo>
                    <a:pt x="152" y="298"/>
                  </a:lnTo>
                  <a:lnTo>
                    <a:pt x="144" y="301"/>
                  </a:lnTo>
                  <a:lnTo>
                    <a:pt x="136" y="305"/>
                  </a:lnTo>
                  <a:lnTo>
                    <a:pt x="129" y="323"/>
                  </a:lnTo>
                  <a:lnTo>
                    <a:pt x="123" y="325"/>
                  </a:lnTo>
                  <a:lnTo>
                    <a:pt x="118" y="325"/>
                  </a:lnTo>
                  <a:lnTo>
                    <a:pt x="113" y="325"/>
                  </a:lnTo>
                  <a:lnTo>
                    <a:pt x="99" y="323"/>
                  </a:lnTo>
                  <a:lnTo>
                    <a:pt x="99" y="317"/>
                  </a:lnTo>
                  <a:lnTo>
                    <a:pt x="96" y="313"/>
                  </a:lnTo>
                  <a:lnTo>
                    <a:pt x="95" y="307"/>
                  </a:lnTo>
                  <a:lnTo>
                    <a:pt x="92" y="306"/>
                  </a:lnTo>
                  <a:lnTo>
                    <a:pt x="92" y="299"/>
                  </a:lnTo>
                  <a:lnTo>
                    <a:pt x="88" y="293"/>
                  </a:lnTo>
                  <a:lnTo>
                    <a:pt x="81" y="264"/>
                  </a:lnTo>
                  <a:lnTo>
                    <a:pt x="78" y="260"/>
                  </a:lnTo>
                  <a:lnTo>
                    <a:pt x="68" y="265"/>
                  </a:lnTo>
                  <a:lnTo>
                    <a:pt x="62" y="265"/>
                  </a:lnTo>
                  <a:lnTo>
                    <a:pt x="50" y="262"/>
                  </a:lnTo>
                  <a:lnTo>
                    <a:pt x="39" y="254"/>
                  </a:lnTo>
                  <a:lnTo>
                    <a:pt x="30" y="256"/>
                  </a:lnTo>
                  <a:lnTo>
                    <a:pt x="27" y="252"/>
                  </a:lnTo>
                  <a:lnTo>
                    <a:pt x="23" y="247"/>
                  </a:lnTo>
                  <a:lnTo>
                    <a:pt x="23" y="244"/>
                  </a:lnTo>
                  <a:lnTo>
                    <a:pt x="21" y="245"/>
                  </a:lnTo>
                  <a:lnTo>
                    <a:pt x="14" y="241"/>
                  </a:lnTo>
                  <a:lnTo>
                    <a:pt x="0" y="232"/>
                  </a:lnTo>
                  <a:lnTo>
                    <a:pt x="0" y="228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3" name="Freeform 11"/>
            <p:cNvSpPr>
              <a:spLocks/>
            </p:cNvSpPr>
            <p:nvPr/>
          </p:nvSpPr>
          <p:spPr bwMode="auto">
            <a:xfrm>
              <a:off x="4149725" y="4183063"/>
              <a:ext cx="171450" cy="138112"/>
            </a:xfrm>
            <a:custGeom>
              <a:avLst/>
              <a:gdLst>
                <a:gd name="T0" fmla="*/ 0 w 216"/>
                <a:gd name="T1" fmla="*/ 71193561 h 174"/>
                <a:gd name="T2" fmla="*/ 2520156 w 216"/>
                <a:gd name="T3" fmla="*/ 63003678 h 174"/>
                <a:gd name="T4" fmla="*/ 6930231 w 216"/>
                <a:gd name="T5" fmla="*/ 54182766 h 174"/>
                <a:gd name="T6" fmla="*/ 15120938 w 216"/>
                <a:gd name="T7" fmla="*/ 47252560 h 174"/>
                <a:gd name="T8" fmla="*/ 28982194 w 216"/>
                <a:gd name="T9" fmla="*/ 40322354 h 174"/>
                <a:gd name="T10" fmla="*/ 34651950 w 216"/>
                <a:gd name="T11" fmla="*/ 35912295 h 174"/>
                <a:gd name="T12" fmla="*/ 37802344 w 216"/>
                <a:gd name="T13" fmla="*/ 32761913 h 174"/>
                <a:gd name="T14" fmla="*/ 44732575 w 216"/>
                <a:gd name="T15" fmla="*/ 23941001 h 174"/>
                <a:gd name="T16" fmla="*/ 48513206 w 216"/>
                <a:gd name="T17" fmla="*/ 25201471 h 174"/>
                <a:gd name="T18" fmla="*/ 49772888 w 216"/>
                <a:gd name="T19" fmla="*/ 25201471 h 174"/>
                <a:gd name="T20" fmla="*/ 56703913 w 216"/>
                <a:gd name="T21" fmla="*/ 20791412 h 174"/>
                <a:gd name="T22" fmla="*/ 63003906 w 216"/>
                <a:gd name="T23" fmla="*/ 17010795 h 174"/>
                <a:gd name="T24" fmla="*/ 66784538 w 216"/>
                <a:gd name="T25" fmla="*/ 15120883 h 174"/>
                <a:gd name="T26" fmla="*/ 71824850 w 216"/>
                <a:gd name="T27" fmla="*/ 14490648 h 174"/>
                <a:gd name="T28" fmla="*/ 74345006 w 216"/>
                <a:gd name="T29" fmla="*/ 12600736 h 174"/>
                <a:gd name="T30" fmla="*/ 77494606 w 216"/>
                <a:gd name="T31" fmla="*/ 10080589 h 174"/>
                <a:gd name="T32" fmla="*/ 82534919 w 216"/>
                <a:gd name="T33" fmla="*/ 2520147 h 174"/>
                <a:gd name="T34" fmla="*/ 85685313 w 216"/>
                <a:gd name="T35" fmla="*/ 0 h 174"/>
                <a:gd name="T36" fmla="*/ 86945788 w 216"/>
                <a:gd name="T37" fmla="*/ 1259677 h 174"/>
                <a:gd name="T38" fmla="*/ 93876019 w 216"/>
                <a:gd name="T39" fmla="*/ 10710824 h 174"/>
                <a:gd name="T40" fmla="*/ 105216325 w 216"/>
                <a:gd name="T41" fmla="*/ 15120883 h 174"/>
                <a:gd name="T42" fmla="*/ 105216325 w 216"/>
                <a:gd name="T43" fmla="*/ 18900707 h 174"/>
                <a:gd name="T44" fmla="*/ 107736481 w 216"/>
                <a:gd name="T45" fmla="*/ 22681324 h 174"/>
                <a:gd name="T46" fmla="*/ 111517113 w 216"/>
                <a:gd name="T47" fmla="*/ 27721618 h 174"/>
                <a:gd name="T48" fmla="*/ 117817106 w 216"/>
                <a:gd name="T49" fmla="*/ 35282060 h 174"/>
                <a:gd name="T50" fmla="*/ 119707819 w 216"/>
                <a:gd name="T51" fmla="*/ 39692119 h 174"/>
                <a:gd name="T52" fmla="*/ 117817106 w 216"/>
                <a:gd name="T53" fmla="*/ 45362648 h 174"/>
                <a:gd name="T54" fmla="*/ 120337263 w 216"/>
                <a:gd name="T55" fmla="*/ 50402943 h 174"/>
                <a:gd name="T56" fmla="*/ 126638050 w 216"/>
                <a:gd name="T57" fmla="*/ 52292854 h 174"/>
                <a:gd name="T58" fmla="*/ 131048125 w 216"/>
                <a:gd name="T59" fmla="*/ 57963384 h 174"/>
                <a:gd name="T60" fmla="*/ 136088438 w 216"/>
                <a:gd name="T61" fmla="*/ 59853296 h 174"/>
                <a:gd name="T62" fmla="*/ 132938044 w 216"/>
                <a:gd name="T63" fmla="*/ 63633120 h 174"/>
                <a:gd name="T64" fmla="*/ 132938044 w 216"/>
                <a:gd name="T65" fmla="*/ 69933884 h 174"/>
                <a:gd name="T66" fmla="*/ 124748131 w 216"/>
                <a:gd name="T67" fmla="*/ 74974179 h 174"/>
                <a:gd name="T68" fmla="*/ 112147350 w 216"/>
                <a:gd name="T69" fmla="*/ 80644708 h 174"/>
                <a:gd name="T70" fmla="*/ 111517113 w 216"/>
                <a:gd name="T71" fmla="*/ 84424532 h 174"/>
                <a:gd name="T72" fmla="*/ 108996956 w 216"/>
                <a:gd name="T73" fmla="*/ 86944679 h 174"/>
                <a:gd name="T74" fmla="*/ 90095388 w 216"/>
                <a:gd name="T75" fmla="*/ 105215944 h 174"/>
                <a:gd name="T76" fmla="*/ 71824850 w 216"/>
                <a:gd name="T77" fmla="*/ 103326032 h 174"/>
                <a:gd name="T78" fmla="*/ 66154300 w 216"/>
                <a:gd name="T79" fmla="*/ 100805885 h 174"/>
                <a:gd name="T80" fmla="*/ 47882969 w 216"/>
                <a:gd name="T81" fmla="*/ 93874885 h 174"/>
                <a:gd name="T82" fmla="*/ 40322500 w 216"/>
                <a:gd name="T83" fmla="*/ 90725297 h 174"/>
                <a:gd name="T84" fmla="*/ 30872113 w 216"/>
                <a:gd name="T85" fmla="*/ 90095061 h 174"/>
                <a:gd name="T86" fmla="*/ 25831800 w 216"/>
                <a:gd name="T87" fmla="*/ 93874885 h 174"/>
                <a:gd name="T88" fmla="*/ 22051169 w 216"/>
                <a:gd name="T89" fmla="*/ 104585709 h 174"/>
                <a:gd name="T90" fmla="*/ 22051169 w 216"/>
                <a:gd name="T91" fmla="*/ 109626003 h 174"/>
                <a:gd name="T92" fmla="*/ 15120938 w 216"/>
                <a:gd name="T93" fmla="*/ 107736091 h 174"/>
                <a:gd name="T94" fmla="*/ 4410075 w 216"/>
                <a:gd name="T95" fmla="*/ 97025267 h 174"/>
                <a:gd name="T96" fmla="*/ 630238 w 216"/>
                <a:gd name="T97" fmla="*/ 90095061 h 174"/>
                <a:gd name="T98" fmla="*/ 0 w 216"/>
                <a:gd name="T99" fmla="*/ 71193561 h 17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16"/>
                <a:gd name="T151" fmla="*/ 0 h 174"/>
                <a:gd name="T152" fmla="*/ 216 w 216"/>
                <a:gd name="T153" fmla="*/ 174 h 17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16" h="174">
                  <a:moveTo>
                    <a:pt x="0" y="113"/>
                  </a:moveTo>
                  <a:lnTo>
                    <a:pt x="4" y="100"/>
                  </a:lnTo>
                  <a:lnTo>
                    <a:pt x="11" y="86"/>
                  </a:lnTo>
                  <a:lnTo>
                    <a:pt x="24" y="75"/>
                  </a:lnTo>
                  <a:lnTo>
                    <a:pt x="46" y="64"/>
                  </a:lnTo>
                  <a:lnTo>
                    <a:pt x="55" y="57"/>
                  </a:lnTo>
                  <a:lnTo>
                    <a:pt x="60" y="52"/>
                  </a:lnTo>
                  <a:lnTo>
                    <a:pt x="71" y="38"/>
                  </a:lnTo>
                  <a:lnTo>
                    <a:pt x="77" y="40"/>
                  </a:lnTo>
                  <a:lnTo>
                    <a:pt x="79" y="40"/>
                  </a:lnTo>
                  <a:lnTo>
                    <a:pt x="90" y="33"/>
                  </a:lnTo>
                  <a:lnTo>
                    <a:pt x="100" y="27"/>
                  </a:lnTo>
                  <a:lnTo>
                    <a:pt x="106" y="24"/>
                  </a:lnTo>
                  <a:lnTo>
                    <a:pt x="114" y="23"/>
                  </a:lnTo>
                  <a:lnTo>
                    <a:pt x="118" y="20"/>
                  </a:lnTo>
                  <a:lnTo>
                    <a:pt x="123" y="16"/>
                  </a:lnTo>
                  <a:lnTo>
                    <a:pt x="131" y="4"/>
                  </a:lnTo>
                  <a:lnTo>
                    <a:pt x="136" y="0"/>
                  </a:lnTo>
                  <a:lnTo>
                    <a:pt x="138" y="2"/>
                  </a:lnTo>
                  <a:lnTo>
                    <a:pt x="149" y="17"/>
                  </a:lnTo>
                  <a:lnTo>
                    <a:pt x="167" y="24"/>
                  </a:lnTo>
                  <a:lnTo>
                    <a:pt x="167" y="30"/>
                  </a:lnTo>
                  <a:lnTo>
                    <a:pt x="171" y="36"/>
                  </a:lnTo>
                  <a:lnTo>
                    <a:pt x="177" y="44"/>
                  </a:lnTo>
                  <a:lnTo>
                    <a:pt x="187" y="56"/>
                  </a:lnTo>
                  <a:lnTo>
                    <a:pt x="190" y="63"/>
                  </a:lnTo>
                  <a:lnTo>
                    <a:pt x="187" y="72"/>
                  </a:lnTo>
                  <a:lnTo>
                    <a:pt x="191" y="80"/>
                  </a:lnTo>
                  <a:lnTo>
                    <a:pt x="201" y="83"/>
                  </a:lnTo>
                  <a:lnTo>
                    <a:pt x="208" y="92"/>
                  </a:lnTo>
                  <a:lnTo>
                    <a:pt x="216" y="95"/>
                  </a:lnTo>
                  <a:lnTo>
                    <a:pt x="211" y="101"/>
                  </a:lnTo>
                  <a:lnTo>
                    <a:pt x="211" y="111"/>
                  </a:lnTo>
                  <a:lnTo>
                    <a:pt x="198" y="119"/>
                  </a:lnTo>
                  <a:lnTo>
                    <a:pt x="178" y="128"/>
                  </a:lnTo>
                  <a:lnTo>
                    <a:pt x="177" y="134"/>
                  </a:lnTo>
                  <a:lnTo>
                    <a:pt x="173" y="138"/>
                  </a:lnTo>
                  <a:lnTo>
                    <a:pt x="143" y="167"/>
                  </a:lnTo>
                  <a:lnTo>
                    <a:pt x="114" y="164"/>
                  </a:lnTo>
                  <a:lnTo>
                    <a:pt x="105" y="160"/>
                  </a:lnTo>
                  <a:lnTo>
                    <a:pt x="76" y="149"/>
                  </a:lnTo>
                  <a:lnTo>
                    <a:pt x="64" y="144"/>
                  </a:lnTo>
                  <a:lnTo>
                    <a:pt x="49" y="143"/>
                  </a:lnTo>
                  <a:lnTo>
                    <a:pt x="41" y="149"/>
                  </a:lnTo>
                  <a:lnTo>
                    <a:pt x="35" y="166"/>
                  </a:lnTo>
                  <a:lnTo>
                    <a:pt x="35" y="174"/>
                  </a:lnTo>
                  <a:lnTo>
                    <a:pt x="24" y="171"/>
                  </a:lnTo>
                  <a:lnTo>
                    <a:pt x="7" y="154"/>
                  </a:lnTo>
                  <a:lnTo>
                    <a:pt x="1" y="143"/>
                  </a:lnTo>
                  <a:lnTo>
                    <a:pt x="0" y="113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4" name="Freeform 12"/>
            <p:cNvSpPr>
              <a:spLocks/>
            </p:cNvSpPr>
            <p:nvPr/>
          </p:nvSpPr>
          <p:spPr bwMode="auto">
            <a:xfrm>
              <a:off x="4694238" y="4657725"/>
              <a:ext cx="55562" cy="80963"/>
            </a:xfrm>
            <a:custGeom>
              <a:avLst/>
              <a:gdLst>
                <a:gd name="T0" fmla="*/ 0 w 69"/>
                <a:gd name="T1" fmla="*/ 37173130 h 102"/>
                <a:gd name="T2" fmla="*/ 1945475 w 69"/>
                <a:gd name="T3" fmla="*/ 34652958 h 102"/>
                <a:gd name="T4" fmla="*/ 2593699 w 69"/>
                <a:gd name="T5" fmla="*/ 33392475 h 102"/>
                <a:gd name="T6" fmla="*/ 1945475 w 69"/>
                <a:gd name="T7" fmla="*/ 30872303 h 102"/>
                <a:gd name="T8" fmla="*/ 3890145 w 69"/>
                <a:gd name="T9" fmla="*/ 30872303 h 102"/>
                <a:gd name="T10" fmla="*/ 9077542 w 69"/>
                <a:gd name="T11" fmla="*/ 26462201 h 102"/>
                <a:gd name="T12" fmla="*/ 9726571 w 69"/>
                <a:gd name="T13" fmla="*/ 23942029 h 102"/>
                <a:gd name="T14" fmla="*/ 11671241 w 69"/>
                <a:gd name="T15" fmla="*/ 23942029 h 102"/>
                <a:gd name="T16" fmla="*/ 11671241 w 69"/>
                <a:gd name="T17" fmla="*/ 22681546 h 102"/>
                <a:gd name="T18" fmla="*/ 12968493 w 69"/>
                <a:gd name="T19" fmla="*/ 21421857 h 102"/>
                <a:gd name="T20" fmla="*/ 12320270 w 69"/>
                <a:gd name="T21" fmla="*/ 19531133 h 102"/>
                <a:gd name="T22" fmla="*/ 13616716 w 69"/>
                <a:gd name="T23" fmla="*/ 18271444 h 102"/>
                <a:gd name="T24" fmla="*/ 13616716 w 69"/>
                <a:gd name="T25" fmla="*/ 16381514 h 102"/>
                <a:gd name="T26" fmla="*/ 12968493 w 69"/>
                <a:gd name="T27" fmla="*/ 15121031 h 102"/>
                <a:gd name="T28" fmla="*/ 13616716 w 69"/>
                <a:gd name="T29" fmla="*/ 11341170 h 102"/>
                <a:gd name="T30" fmla="*/ 16858638 w 69"/>
                <a:gd name="T31" fmla="*/ 10080687 h 102"/>
                <a:gd name="T32" fmla="*/ 18155890 w 69"/>
                <a:gd name="T33" fmla="*/ 10710929 h 102"/>
                <a:gd name="T34" fmla="*/ 20101365 w 69"/>
                <a:gd name="T35" fmla="*/ 10080687 h 102"/>
                <a:gd name="T36" fmla="*/ 20101365 w 69"/>
                <a:gd name="T37" fmla="*/ 7560515 h 102"/>
                <a:gd name="T38" fmla="*/ 20749589 w 69"/>
                <a:gd name="T39" fmla="*/ 6930274 h 102"/>
                <a:gd name="T40" fmla="*/ 20749589 w 69"/>
                <a:gd name="T41" fmla="*/ 5040344 h 102"/>
                <a:gd name="T42" fmla="*/ 23343287 w 69"/>
                <a:gd name="T43" fmla="*/ 630241 h 102"/>
                <a:gd name="T44" fmla="*/ 25288762 w 69"/>
                <a:gd name="T45" fmla="*/ 0 h 102"/>
                <a:gd name="T46" fmla="*/ 25288762 w 69"/>
                <a:gd name="T47" fmla="*/ 3150413 h 102"/>
                <a:gd name="T48" fmla="*/ 24639734 w 69"/>
                <a:gd name="T49" fmla="*/ 4410102 h 102"/>
                <a:gd name="T50" fmla="*/ 23991511 w 69"/>
                <a:gd name="T51" fmla="*/ 6930274 h 102"/>
                <a:gd name="T52" fmla="*/ 24639734 w 69"/>
                <a:gd name="T53" fmla="*/ 8190757 h 102"/>
                <a:gd name="T54" fmla="*/ 25936986 w 69"/>
                <a:gd name="T55" fmla="*/ 8190757 h 102"/>
                <a:gd name="T56" fmla="*/ 27882461 w 69"/>
                <a:gd name="T57" fmla="*/ 8190757 h 102"/>
                <a:gd name="T58" fmla="*/ 31124383 w 69"/>
                <a:gd name="T59" fmla="*/ 8820998 h 102"/>
                <a:gd name="T60" fmla="*/ 29827131 w 69"/>
                <a:gd name="T61" fmla="*/ 11341170 h 102"/>
                <a:gd name="T62" fmla="*/ 31772606 w 69"/>
                <a:gd name="T63" fmla="*/ 14490789 h 102"/>
                <a:gd name="T64" fmla="*/ 31772606 w 69"/>
                <a:gd name="T65" fmla="*/ 19531133 h 102"/>
                <a:gd name="T66" fmla="*/ 31772606 w 69"/>
                <a:gd name="T67" fmla="*/ 21421857 h 102"/>
                <a:gd name="T68" fmla="*/ 40201925 w 69"/>
                <a:gd name="T69" fmla="*/ 27721890 h 102"/>
                <a:gd name="T70" fmla="*/ 41499177 w 69"/>
                <a:gd name="T71" fmla="*/ 32762234 h 102"/>
                <a:gd name="T72" fmla="*/ 42795624 w 69"/>
                <a:gd name="T73" fmla="*/ 40952990 h 102"/>
                <a:gd name="T74" fmla="*/ 44741099 w 69"/>
                <a:gd name="T75" fmla="*/ 44103404 h 102"/>
                <a:gd name="T76" fmla="*/ 44741099 w 69"/>
                <a:gd name="T77" fmla="*/ 45363093 h 102"/>
                <a:gd name="T78" fmla="*/ 41499177 w 69"/>
                <a:gd name="T79" fmla="*/ 45993334 h 102"/>
                <a:gd name="T80" fmla="*/ 42795624 w 69"/>
                <a:gd name="T81" fmla="*/ 49773989 h 102"/>
                <a:gd name="T82" fmla="*/ 43444653 w 69"/>
                <a:gd name="T83" fmla="*/ 52294160 h 102"/>
                <a:gd name="T84" fmla="*/ 44092876 w 69"/>
                <a:gd name="T85" fmla="*/ 54184091 h 102"/>
                <a:gd name="T86" fmla="*/ 39553702 w 69"/>
                <a:gd name="T87" fmla="*/ 56704263 h 102"/>
                <a:gd name="T88" fmla="*/ 32420830 w 69"/>
                <a:gd name="T89" fmla="*/ 63004295 h 102"/>
                <a:gd name="T90" fmla="*/ 29827131 w 69"/>
                <a:gd name="T91" fmla="*/ 64264778 h 102"/>
                <a:gd name="T92" fmla="*/ 27233432 w 69"/>
                <a:gd name="T93" fmla="*/ 63004295 h 102"/>
                <a:gd name="T94" fmla="*/ 23991511 w 69"/>
                <a:gd name="T95" fmla="*/ 61744606 h 102"/>
                <a:gd name="T96" fmla="*/ 22046035 w 69"/>
                <a:gd name="T97" fmla="*/ 61114365 h 102"/>
                <a:gd name="T98" fmla="*/ 14264940 w 69"/>
                <a:gd name="T99" fmla="*/ 60484124 h 102"/>
                <a:gd name="T100" fmla="*/ 9726571 w 69"/>
                <a:gd name="T101" fmla="*/ 59224435 h 102"/>
                <a:gd name="T102" fmla="*/ 7781096 w 69"/>
                <a:gd name="T103" fmla="*/ 57963952 h 102"/>
                <a:gd name="T104" fmla="*/ 6483844 w 69"/>
                <a:gd name="T105" fmla="*/ 55443780 h 102"/>
                <a:gd name="T106" fmla="*/ 6483844 w 69"/>
                <a:gd name="T107" fmla="*/ 53553849 h 102"/>
                <a:gd name="T108" fmla="*/ 6483844 w 69"/>
                <a:gd name="T109" fmla="*/ 50403436 h 102"/>
                <a:gd name="T110" fmla="*/ 7781096 w 69"/>
                <a:gd name="T111" fmla="*/ 49143747 h 102"/>
                <a:gd name="T112" fmla="*/ 6483844 w 69"/>
                <a:gd name="T113" fmla="*/ 47883264 h 102"/>
                <a:gd name="T114" fmla="*/ 5187397 w 69"/>
                <a:gd name="T115" fmla="*/ 47883264 h 102"/>
                <a:gd name="T116" fmla="*/ 1945475 w 69"/>
                <a:gd name="T117" fmla="*/ 45993334 h 102"/>
                <a:gd name="T118" fmla="*/ 648223 w 69"/>
                <a:gd name="T119" fmla="*/ 42213473 h 102"/>
                <a:gd name="T120" fmla="*/ 0 w 69"/>
                <a:gd name="T121" fmla="*/ 37173130 h 1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9"/>
                <a:gd name="T184" fmla="*/ 0 h 102"/>
                <a:gd name="T185" fmla="*/ 69 w 69"/>
                <a:gd name="T186" fmla="*/ 102 h 1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9" h="102">
                  <a:moveTo>
                    <a:pt x="0" y="59"/>
                  </a:moveTo>
                  <a:lnTo>
                    <a:pt x="3" y="55"/>
                  </a:lnTo>
                  <a:lnTo>
                    <a:pt x="4" y="53"/>
                  </a:lnTo>
                  <a:lnTo>
                    <a:pt x="3" y="49"/>
                  </a:lnTo>
                  <a:lnTo>
                    <a:pt x="6" y="49"/>
                  </a:lnTo>
                  <a:lnTo>
                    <a:pt x="14" y="42"/>
                  </a:lnTo>
                  <a:lnTo>
                    <a:pt x="15" y="38"/>
                  </a:lnTo>
                  <a:lnTo>
                    <a:pt x="18" y="38"/>
                  </a:lnTo>
                  <a:lnTo>
                    <a:pt x="18" y="36"/>
                  </a:lnTo>
                  <a:lnTo>
                    <a:pt x="20" y="34"/>
                  </a:lnTo>
                  <a:lnTo>
                    <a:pt x="19" y="31"/>
                  </a:lnTo>
                  <a:lnTo>
                    <a:pt x="21" y="29"/>
                  </a:lnTo>
                  <a:lnTo>
                    <a:pt x="21" y="26"/>
                  </a:lnTo>
                  <a:lnTo>
                    <a:pt x="20" y="24"/>
                  </a:lnTo>
                  <a:lnTo>
                    <a:pt x="21" y="18"/>
                  </a:lnTo>
                  <a:lnTo>
                    <a:pt x="26" y="16"/>
                  </a:lnTo>
                  <a:lnTo>
                    <a:pt x="28" y="17"/>
                  </a:lnTo>
                  <a:lnTo>
                    <a:pt x="31" y="16"/>
                  </a:lnTo>
                  <a:lnTo>
                    <a:pt x="31" y="12"/>
                  </a:lnTo>
                  <a:lnTo>
                    <a:pt x="32" y="11"/>
                  </a:lnTo>
                  <a:lnTo>
                    <a:pt x="32" y="8"/>
                  </a:lnTo>
                  <a:lnTo>
                    <a:pt x="36" y="1"/>
                  </a:lnTo>
                  <a:lnTo>
                    <a:pt x="39" y="0"/>
                  </a:lnTo>
                  <a:lnTo>
                    <a:pt x="39" y="5"/>
                  </a:lnTo>
                  <a:lnTo>
                    <a:pt x="38" y="7"/>
                  </a:lnTo>
                  <a:lnTo>
                    <a:pt x="37" y="11"/>
                  </a:lnTo>
                  <a:lnTo>
                    <a:pt x="38" y="13"/>
                  </a:lnTo>
                  <a:lnTo>
                    <a:pt x="40" y="13"/>
                  </a:lnTo>
                  <a:lnTo>
                    <a:pt x="43" y="13"/>
                  </a:lnTo>
                  <a:lnTo>
                    <a:pt x="48" y="14"/>
                  </a:lnTo>
                  <a:lnTo>
                    <a:pt x="46" y="18"/>
                  </a:lnTo>
                  <a:lnTo>
                    <a:pt x="49" y="23"/>
                  </a:lnTo>
                  <a:lnTo>
                    <a:pt x="49" y="31"/>
                  </a:lnTo>
                  <a:lnTo>
                    <a:pt x="49" y="34"/>
                  </a:lnTo>
                  <a:lnTo>
                    <a:pt x="62" y="44"/>
                  </a:lnTo>
                  <a:lnTo>
                    <a:pt x="64" y="52"/>
                  </a:lnTo>
                  <a:lnTo>
                    <a:pt x="66" y="65"/>
                  </a:lnTo>
                  <a:lnTo>
                    <a:pt x="69" y="70"/>
                  </a:lnTo>
                  <a:lnTo>
                    <a:pt x="69" y="72"/>
                  </a:lnTo>
                  <a:lnTo>
                    <a:pt x="64" y="73"/>
                  </a:lnTo>
                  <a:lnTo>
                    <a:pt x="66" y="79"/>
                  </a:lnTo>
                  <a:lnTo>
                    <a:pt x="67" y="83"/>
                  </a:lnTo>
                  <a:lnTo>
                    <a:pt x="68" y="86"/>
                  </a:lnTo>
                  <a:lnTo>
                    <a:pt x="61" y="90"/>
                  </a:lnTo>
                  <a:lnTo>
                    <a:pt x="50" y="100"/>
                  </a:lnTo>
                  <a:lnTo>
                    <a:pt x="46" y="102"/>
                  </a:lnTo>
                  <a:lnTo>
                    <a:pt x="42" y="100"/>
                  </a:lnTo>
                  <a:lnTo>
                    <a:pt x="37" y="98"/>
                  </a:lnTo>
                  <a:lnTo>
                    <a:pt x="34" y="97"/>
                  </a:lnTo>
                  <a:lnTo>
                    <a:pt x="22" y="96"/>
                  </a:lnTo>
                  <a:lnTo>
                    <a:pt x="15" y="94"/>
                  </a:lnTo>
                  <a:lnTo>
                    <a:pt x="12" y="92"/>
                  </a:lnTo>
                  <a:lnTo>
                    <a:pt x="10" y="88"/>
                  </a:lnTo>
                  <a:lnTo>
                    <a:pt x="10" y="85"/>
                  </a:lnTo>
                  <a:lnTo>
                    <a:pt x="10" y="80"/>
                  </a:lnTo>
                  <a:lnTo>
                    <a:pt x="12" y="78"/>
                  </a:lnTo>
                  <a:lnTo>
                    <a:pt x="10" y="76"/>
                  </a:lnTo>
                  <a:lnTo>
                    <a:pt x="8" y="76"/>
                  </a:lnTo>
                  <a:lnTo>
                    <a:pt x="3" y="73"/>
                  </a:lnTo>
                  <a:lnTo>
                    <a:pt x="1" y="67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5" name="Freeform 13"/>
            <p:cNvSpPr>
              <a:spLocks/>
            </p:cNvSpPr>
            <p:nvPr/>
          </p:nvSpPr>
          <p:spPr bwMode="auto">
            <a:xfrm>
              <a:off x="4291013" y="4284663"/>
              <a:ext cx="341312" cy="322262"/>
            </a:xfrm>
            <a:custGeom>
              <a:avLst/>
              <a:gdLst>
                <a:gd name="T0" fmla="*/ 14490679 w 430"/>
                <a:gd name="T1" fmla="*/ 165252771 h 405"/>
                <a:gd name="T2" fmla="*/ 13860442 w 430"/>
                <a:gd name="T3" fmla="*/ 148791150 h 405"/>
                <a:gd name="T4" fmla="*/ 3779832 w 430"/>
                <a:gd name="T5" fmla="*/ 129163405 h 405"/>
                <a:gd name="T6" fmla="*/ 19530984 w 430"/>
                <a:gd name="T7" fmla="*/ 103204207 h 405"/>
                <a:gd name="T8" fmla="*/ 34651899 w 430"/>
                <a:gd name="T9" fmla="*/ 86741790 h 405"/>
                <a:gd name="T10" fmla="*/ 38432525 w 430"/>
                <a:gd name="T11" fmla="*/ 72179527 h 405"/>
                <a:gd name="T12" fmla="*/ 49142578 w 430"/>
                <a:gd name="T13" fmla="*/ 69013402 h 405"/>
                <a:gd name="T14" fmla="*/ 56703036 w 430"/>
                <a:gd name="T15" fmla="*/ 43687587 h 405"/>
                <a:gd name="T16" fmla="*/ 56703036 w 430"/>
                <a:gd name="T17" fmla="*/ 25959199 h 405"/>
                <a:gd name="T18" fmla="*/ 65523967 w 430"/>
                <a:gd name="T19" fmla="*/ 15195648 h 405"/>
                <a:gd name="T20" fmla="*/ 72454188 w 430"/>
                <a:gd name="T21" fmla="*/ 0 h 405"/>
                <a:gd name="T22" fmla="*/ 83795271 w 430"/>
                <a:gd name="T23" fmla="*/ 3798713 h 405"/>
                <a:gd name="T24" fmla="*/ 104585934 w 430"/>
                <a:gd name="T25" fmla="*/ 13296291 h 405"/>
                <a:gd name="T26" fmla="*/ 129787460 w 430"/>
                <a:gd name="T27" fmla="*/ 27225171 h 405"/>
                <a:gd name="T28" fmla="*/ 149948680 w 430"/>
                <a:gd name="T29" fmla="*/ 39255490 h 405"/>
                <a:gd name="T30" fmla="*/ 163179680 w 430"/>
                <a:gd name="T31" fmla="*/ 46852916 h 405"/>
                <a:gd name="T32" fmla="*/ 174519969 w 430"/>
                <a:gd name="T33" fmla="*/ 33557421 h 405"/>
                <a:gd name="T34" fmla="*/ 197201342 w 430"/>
                <a:gd name="T35" fmla="*/ 27225171 h 405"/>
                <a:gd name="T36" fmla="*/ 210432342 w 430"/>
                <a:gd name="T37" fmla="*/ 27858555 h 405"/>
                <a:gd name="T38" fmla="*/ 236894340 w 430"/>
                <a:gd name="T39" fmla="*/ 46852916 h 405"/>
                <a:gd name="T40" fmla="*/ 256425324 w 430"/>
                <a:gd name="T41" fmla="*/ 50019041 h 405"/>
                <a:gd name="T42" fmla="*/ 261465629 w 430"/>
                <a:gd name="T43" fmla="*/ 60149208 h 405"/>
                <a:gd name="T44" fmla="*/ 270916003 w 430"/>
                <a:gd name="T45" fmla="*/ 72179527 h 405"/>
                <a:gd name="T46" fmla="*/ 262095866 w 430"/>
                <a:gd name="T47" fmla="*/ 86741790 h 405"/>
                <a:gd name="T48" fmla="*/ 245084241 w 430"/>
                <a:gd name="T49" fmla="*/ 84842434 h 405"/>
                <a:gd name="T50" fmla="*/ 235633867 w 430"/>
                <a:gd name="T51" fmla="*/ 87375175 h 405"/>
                <a:gd name="T52" fmla="*/ 229333883 w 430"/>
                <a:gd name="T53" fmla="*/ 111435017 h 405"/>
                <a:gd name="T54" fmla="*/ 221773425 w 430"/>
                <a:gd name="T55" fmla="*/ 117133086 h 405"/>
                <a:gd name="T56" fmla="*/ 211692815 w 430"/>
                <a:gd name="T57" fmla="*/ 110801633 h 405"/>
                <a:gd name="T58" fmla="*/ 202871884 w 430"/>
                <a:gd name="T59" fmla="*/ 110801633 h 405"/>
                <a:gd name="T60" fmla="*/ 197201342 w 430"/>
                <a:gd name="T61" fmla="*/ 122198568 h 405"/>
                <a:gd name="T62" fmla="*/ 182710664 w 430"/>
                <a:gd name="T63" fmla="*/ 118399855 h 405"/>
                <a:gd name="T64" fmla="*/ 177670358 w 430"/>
                <a:gd name="T65" fmla="*/ 125997281 h 405"/>
                <a:gd name="T66" fmla="*/ 173890527 w 430"/>
                <a:gd name="T67" fmla="*/ 150057123 h 405"/>
                <a:gd name="T68" fmla="*/ 184600580 w 430"/>
                <a:gd name="T69" fmla="*/ 185513900 h 405"/>
                <a:gd name="T70" fmla="*/ 192791274 w 430"/>
                <a:gd name="T71" fmla="*/ 197543423 h 405"/>
                <a:gd name="T72" fmla="*/ 211692815 w 430"/>
                <a:gd name="T73" fmla="*/ 214638428 h 405"/>
                <a:gd name="T74" fmla="*/ 214842410 w 430"/>
                <a:gd name="T75" fmla="*/ 228568103 h 405"/>
                <a:gd name="T76" fmla="*/ 211692815 w 430"/>
                <a:gd name="T77" fmla="*/ 234899557 h 405"/>
                <a:gd name="T78" fmla="*/ 201612205 w 430"/>
                <a:gd name="T79" fmla="*/ 250728589 h 405"/>
                <a:gd name="T80" fmla="*/ 185230816 w 430"/>
                <a:gd name="T81" fmla="*/ 255793274 h 405"/>
                <a:gd name="T82" fmla="*/ 177040122 w 430"/>
                <a:gd name="T83" fmla="*/ 255793274 h 405"/>
                <a:gd name="T84" fmla="*/ 161289764 w 430"/>
                <a:gd name="T85" fmla="*/ 255160686 h 405"/>
                <a:gd name="T86" fmla="*/ 148058764 w 430"/>
                <a:gd name="T87" fmla="*/ 252627945 h 405"/>
                <a:gd name="T88" fmla="*/ 138608391 w 430"/>
                <a:gd name="T89" fmla="*/ 255160686 h 405"/>
                <a:gd name="T90" fmla="*/ 142388223 w 430"/>
                <a:gd name="T91" fmla="*/ 248828437 h 405"/>
                <a:gd name="T92" fmla="*/ 139237834 w 430"/>
                <a:gd name="T93" fmla="*/ 235532941 h 405"/>
                <a:gd name="T94" fmla="*/ 123487475 w 430"/>
                <a:gd name="T95" fmla="*/ 235532941 h 405"/>
                <a:gd name="T96" fmla="*/ 110886713 w 430"/>
                <a:gd name="T97" fmla="*/ 239331654 h 405"/>
                <a:gd name="T98" fmla="*/ 101436339 w 430"/>
                <a:gd name="T99" fmla="*/ 241231010 h 405"/>
                <a:gd name="T100" fmla="*/ 95765797 w 430"/>
                <a:gd name="T101" fmla="*/ 238698270 h 405"/>
                <a:gd name="T102" fmla="*/ 90725492 w 430"/>
                <a:gd name="T103" fmla="*/ 239965038 h 405"/>
                <a:gd name="T104" fmla="*/ 80014645 w 430"/>
                <a:gd name="T105" fmla="*/ 199442780 h 405"/>
                <a:gd name="T106" fmla="*/ 72454188 w 430"/>
                <a:gd name="T107" fmla="*/ 200709548 h 405"/>
                <a:gd name="T108" fmla="*/ 63003814 w 430"/>
                <a:gd name="T109" fmla="*/ 198176807 h 405"/>
                <a:gd name="T110" fmla="*/ 56073593 w 430"/>
                <a:gd name="T111" fmla="*/ 205141645 h 405"/>
                <a:gd name="T112" fmla="*/ 46622425 w 430"/>
                <a:gd name="T113" fmla="*/ 212105687 h 405"/>
                <a:gd name="T114" fmla="*/ 35282136 w 430"/>
                <a:gd name="T115" fmla="*/ 208306974 h 405"/>
                <a:gd name="T116" fmla="*/ 23311610 w 430"/>
                <a:gd name="T117" fmla="*/ 198810191 h 405"/>
                <a:gd name="T118" fmla="*/ 22051136 w 430"/>
                <a:gd name="T119" fmla="*/ 186779872 h 405"/>
                <a:gd name="T120" fmla="*/ 11340290 w 430"/>
                <a:gd name="T121" fmla="*/ 187413256 h 405"/>
                <a:gd name="T122" fmla="*/ 0 w 430"/>
                <a:gd name="T123" fmla="*/ 182981159 h 4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30"/>
                <a:gd name="T187" fmla="*/ 0 h 405"/>
                <a:gd name="T188" fmla="*/ 430 w 430"/>
                <a:gd name="T189" fmla="*/ 405 h 4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30" h="405">
                  <a:moveTo>
                    <a:pt x="0" y="289"/>
                  </a:moveTo>
                  <a:lnTo>
                    <a:pt x="5" y="288"/>
                  </a:lnTo>
                  <a:lnTo>
                    <a:pt x="23" y="261"/>
                  </a:lnTo>
                  <a:lnTo>
                    <a:pt x="29" y="253"/>
                  </a:lnTo>
                  <a:lnTo>
                    <a:pt x="28" y="236"/>
                  </a:lnTo>
                  <a:lnTo>
                    <a:pt x="22" y="235"/>
                  </a:lnTo>
                  <a:lnTo>
                    <a:pt x="13" y="227"/>
                  </a:lnTo>
                  <a:lnTo>
                    <a:pt x="4" y="210"/>
                  </a:lnTo>
                  <a:lnTo>
                    <a:pt x="6" y="204"/>
                  </a:lnTo>
                  <a:lnTo>
                    <a:pt x="13" y="195"/>
                  </a:lnTo>
                  <a:lnTo>
                    <a:pt x="31" y="170"/>
                  </a:lnTo>
                  <a:lnTo>
                    <a:pt x="31" y="163"/>
                  </a:lnTo>
                  <a:lnTo>
                    <a:pt x="36" y="161"/>
                  </a:lnTo>
                  <a:lnTo>
                    <a:pt x="47" y="149"/>
                  </a:lnTo>
                  <a:lnTo>
                    <a:pt x="55" y="137"/>
                  </a:lnTo>
                  <a:lnTo>
                    <a:pt x="56" y="131"/>
                  </a:lnTo>
                  <a:lnTo>
                    <a:pt x="62" y="126"/>
                  </a:lnTo>
                  <a:lnTo>
                    <a:pt x="61" y="114"/>
                  </a:lnTo>
                  <a:lnTo>
                    <a:pt x="68" y="109"/>
                  </a:lnTo>
                  <a:lnTo>
                    <a:pt x="77" y="114"/>
                  </a:lnTo>
                  <a:lnTo>
                    <a:pt x="78" y="109"/>
                  </a:lnTo>
                  <a:lnTo>
                    <a:pt x="86" y="108"/>
                  </a:lnTo>
                  <a:lnTo>
                    <a:pt x="103" y="84"/>
                  </a:lnTo>
                  <a:lnTo>
                    <a:pt x="90" y="69"/>
                  </a:lnTo>
                  <a:lnTo>
                    <a:pt x="84" y="57"/>
                  </a:lnTo>
                  <a:lnTo>
                    <a:pt x="86" y="49"/>
                  </a:lnTo>
                  <a:lnTo>
                    <a:pt x="90" y="41"/>
                  </a:lnTo>
                  <a:lnTo>
                    <a:pt x="97" y="33"/>
                  </a:lnTo>
                  <a:lnTo>
                    <a:pt x="103" y="27"/>
                  </a:lnTo>
                  <a:lnTo>
                    <a:pt x="104" y="24"/>
                  </a:lnTo>
                  <a:lnTo>
                    <a:pt x="95" y="17"/>
                  </a:lnTo>
                  <a:lnTo>
                    <a:pt x="95" y="14"/>
                  </a:lnTo>
                  <a:lnTo>
                    <a:pt x="115" y="0"/>
                  </a:lnTo>
                  <a:lnTo>
                    <a:pt x="119" y="5"/>
                  </a:lnTo>
                  <a:lnTo>
                    <a:pt x="127" y="5"/>
                  </a:lnTo>
                  <a:lnTo>
                    <a:pt x="133" y="6"/>
                  </a:lnTo>
                  <a:lnTo>
                    <a:pt x="140" y="8"/>
                  </a:lnTo>
                  <a:lnTo>
                    <a:pt x="145" y="20"/>
                  </a:lnTo>
                  <a:lnTo>
                    <a:pt x="166" y="21"/>
                  </a:lnTo>
                  <a:lnTo>
                    <a:pt x="182" y="24"/>
                  </a:lnTo>
                  <a:lnTo>
                    <a:pt x="192" y="21"/>
                  </a:lnTo>
                  <a:lnTo>
                    <a:pt x="206" y="43"/>
                  </a:lnTo>
                  <a:lnTo>
                    <a:pt x="220" y="53"/>
                  </a:lnTo>
                  <a:lnTo>
                    <a:pt x="223" y="51"/>
                  </a:lnTo>
                  <a:lnTo>
                    <a:pt x="238" y="62"/>
                  </a:lnTo>
                  <a:lnTo>
                    <a:pt x="242" y="68"/>
                  </a:lnTo>
                  <a:lnTo>
                    <a:pt x="250" y="72"/>
                  </a:lnTo>
                  <a:lnTo>
                    <a:pt x="259" y="74"/>
                  </a:lnTo>
                  <a:lnTo>
                    <a:pt x="271" y="72"/>
                  </a:lnTo>
                  <a:lnTo>
                    <a:pt x="276" y="66"/>
                  </a:lnTo>
                  <a:lnTo>
                    <a:pt x="277" y="53"/>
                  </a:lnTo>
                  <a:lnTo>
                    <a:pt x="286" y="48"/>
                  </a:lnTo>
                  <a:lnTo>
                    <a:pt x="305" y="41"/>
                  </a:lnTo>
                  <a:lnTo>
                    <a:pt x="313" y="43"/>
                  </a:lnTo>
                  <a:lnTo>
                    <a:pt x="320" y="44"/>
                  </a:lnTo>
                  <a:lnTo>
                    <a:pt x="329" y="44"/>
                  </a:lnTo>
                  <a:lnTo>
                    <a:pt x="334" y="44"/>
                  </a:lnTo>
                  <a:lnTo>
                    <a:pt x="340" y="51"/>
                  </a:lnTo>
                  <a:lnTo>
                    <a:pt x="347" y="55"/>
                  </a:lnTo>
                  <a:lnTo>
                    <a:pt x="376" y="74"/>
                  </a:lnTo>
                  <a:lnTo>
                    <a:pt x="383" y="75"/>
                  </a:lnTo>
                  <a:lnTo>
                    <a:pt x="398" y="79"/>
                  </a:lnTo>
                  <a:lnTo>
                    <a:pt x="407" y="79"/>
                  </a:lnTo>
                  <a:lnTo>
                    <a:pt x="412" y="81"/>
                  </a:lnTo>
                  <a:lnTo>
                    <a:pt x="412" y="92"/>
                  </a:lnTo>
                  <a:lnTo>
                    <a:pt x="415" y="95"/>
                  </a:lnTo>
                  <a:lnTo>
                    <a:pt x="415" y="108"/>
                  </a:lnTo>
                  <a:lnTo>
                    <a:pt x="419" y="114"/>
                  </a:lnTo>
                  <a:lnTo>
                    <a:pt x="430" y="114"/>
                  </a:lnTo>
                  <a:lnTo>
                    <a:pt x="430" y="125"/>
                  </a:lnTo>
                  <a:lnTo>
                    <a:pt x="419" y="131"/>
                  </a:lnTo>
                  <a:lnTo>
                    <a:pt x="416" y="137"/>
                  </a:lnTo>
                  <a:lnTo>
                    <a:pt x="404" y="141"/>
                  </a:lnTo>
                  <a:lnTo>
                    <a:pt x="397" y="137"/>
                  </a:lnTo>
                  <a:lnTo>
                    <a:pt x="389" y="134"/>
                  </a:lnTo>
                  <a:lnTo>
                    <a:pt x="388" y="129"/>
                  </a:lnTo>
                  <a:lnTo>
                    <a:pt x="377" y="131"/>
                  </a:lnTo>
                  <a:lnTo>
                    <a:pt x="374" y="138"/>
                  </a:lnTo>
                  <a:lnTo>
                    <a:pt x="365" y="158"/>
                  </a:lnTo>
                  <a:lnTo>
                    <a:pt x="364" y="169"/>
                  </a:lnTo>
                  <a:lnTo>
                    <a:pt x="364" y="176"/>
                  </a:lnTo>
                  <a:lnTo>
                    <a:pt x="360" y="181"/>
                  </a:lnTo>
                  <a:lnTo>
                    <a:pt x="354" y="185"/>
                  </a:lnTo>
                  <a:lnTo>
                    <a:pt x="352" y="185"/>
                  </a:lnTo>
                  <a:lnTo>
                    <a:pt x="348" y="181"/>
                  </a:lnTo>
                  <a:lnTo>
                    <a:pt x="344" y="180"/>
                  </a:lnTo>
                  <a:lnTo>
                    <a:pt x="336" y="175"/>
                  </a:lnTo>
                  <a:lnTo>
                    <a:pt x="326" y="173"/>
                  </a:lnTo>
                  <a:lnTo>
                    <a:pt x="324" y="173"/>
                  </a:lnTo>
                  <a:lnTo>
                    <a:pt x="322" y="175"/>
                  </a:lnTo>
                  <a:lnTo>
                    <a:pt x="318" y="188"/>
                  </a:lnTo>
                  <a:lnTo>
                    <a:pt x="317" y="191"/>
                  </a:lnTo>
                  <a:lnTo>
                    <a:pt x="313" y="193"/>
                  </a:lnTo>
                  <a:lnTo>
                    <a:pt x="301" y="192"/>
                  </a:lnTo>
                  <a:lnTo>
                    <a:pt x="296" y="187"/>
                  </a:lnTo>
                  <a:lnTo>
                    <a:pt x="290" y="187"/>
                  </a:lnTo>
                  <a:lnTo>
                    <a:pt x="288" y="186"/>
                  </a:lnTo>
                  <a:lnTo>
                    <a:pt x="283" y="188"/>
                  </a:lnTo>
                  <a:lnTo>
                    <a:pt x="282" y="199"/>
                  </a:lnTo>
                  <a:lnTo>
                    <a:pt x="277" y="204"/>
                  </a:lnTo>
                  <a:lnTo>
                    <a:pt x="275" y="221"/>
                  </a:lnTo>
                  <a:lnTo>
                    <a:pt x="276" y="237"/>
                  </a:lnTo>
                  <a:lnTo>
                    <a:pt x="284" y="254"/>
                  </a:lnTo>
                  <a:lnTo>
                    <a:pt x="290" y="258"/>
                  </a:lnTo>
                  <a:lnTo>
                    <a:pt x="293" y="293"/>
                  </a:lnTo>
                  <a:lnTo>
                    <a:pt x="296" y="300"/>
                  </a:lnTo>
                  <a:lnTo>
                    <a:pt x="300" y="301"/>
                  </a:lnTo>
                  <a:lnTo>
                    <a:pt x="306" y="312"/>
                  </a:lnTo>
                  <a:lnTo>
                    <a:pt x="323" y="325"/>
                  </a:lnTo>
                  <a:lnTo>
                    <a:pt x="324" y="329"/>
                  </a:lnTo>
                  <a:lnTo>
                    <a:pt x="336" y="339"/>
                  </a:lnTo>
                  <a:lnTo>
                    <a:pt x="338" y="347"/>
                  </a:lnTo>
                  <a:lnTo>
                    <a:pt x="344" y="354"/>
                  </a:lnTo>
                  <a:lnTo>
                    <a:pt x="341" y="361"/>
                  </a:lnTo>
                  <a:lnTo>
                    <a:pt x="341" y="366"/>
                  </a:lnTo>
                  <a:lnTo>
                    <a:pt x="338" y="368"/>
                  </a:lnTo>
                  <a:lnTo>
                    <a:pt x="336" y="371"/>
                  </a:lnTo>
                  <a:lnTo>
                    <a:pt x="336" y="373"/>
                  </a:lnTo>
                  <a:lnTo>
                    <a:pt x="329" y="383"/>
                  </a:lnTo>
                  <a:lnTo>
                    <a:pt x="320" y="396"/>
                  </a:lnTo>
                  <a:lnTo>
                    <a:pt x="312" y="401"/>
                  </a:lnTo>
                  <a:lnTo>
                    <a:pt x="301" y="404"/>
                  </a:lnTo>
                  <a:lnTo>
                    <a:pt x="294" y="404"/>
                  </a:lnTo>
                  <a:lnTo>
                    <a:pt x="293" y="403"/>
                  </a:lnTo>
                  <a:lnTo>
                    <a:pt x="288" y="402"/>
                  </a:lnTo>
                  <a:lnTo>
                    <a:pt x="281" y="404"/>
                  </a:lnTo>
                  <a:lnTo>
                    <a:pt x="268" y="403"/>
                  </a:lnTo>
                  <a:lnTo>
                    <a:pt x="262" y="404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1" y="401"/>
                  </a:lnTo>
                  <a:lnTo>
                    <a:pt x="235" y="399"/>
                  </a:lnTo>
                  <a:lnTo>
                    <a:pt x="226" y="405"/>
                  </a:lnTo>
                  <a:lnTo>
                    <a:pt x="223" y="403"/>
                  </a:lnTo>
                  <a:lnTo>
                    <a:pt x="220" y="403"/>
                  </a:lnTo>
                  <a:lnTo>
                    <a:pt x="217" y="402"/>
                  </a:lnTo>
                  <a:lnTo>
                    <a:pt x="218" y="398"/>
                  </a:lnTo>
                  <a:lnTo>
                    <a:pt x="226" y="393"/>
                  </a:lnTo>
                  <a:lnTo>
                    <a:pt x="228" y="389"/>
                  </a:lnTo>
                  <a:lnTo>
                    <a:pt x="226" y="377"/>
                  </a:lnTo>
                  <a:lnTo>
                    <a:pt x="221" y="372"/>
                  </a:lnTo>
                  <a:lnTo>
                    <a:pt x="211" y="371"/>
                  </a:lnTo>
                  <a:lnTo>
                    <a:pt x="202" y="373"/>
                  </a:lnTo>
                  <a:lnTo>
                    <a:pt x="196" y="372"/>
                  </a:lnTo>
                  <a:lnTo>
                    <a:pt x="192" y="377"/>
                  </a:lnTo>
                  <a:lnTo>
                    <a:pt x="180" y="372"/>
                  </a:lnTo>
                  <a:lnTo>
                    <a:pt x="176" y="378"/>
                  </a:lnTo>
                  <a:lnTo>
                    <a:pt x="174" y="379"/>
                  </a:lnTo>
                  <a:lnTo>
                    <a:pt x="168" y="379"/>
                  </a:lnTo>
                  <a:lnTo>
                    <a:pt x="161" y="381"/>
                  </a:lnTo>
                  <a:lnTo>
                    <a:pt x="156" y="380"/>
                  </a:lnTo>
                  <a:lnTo>
                    <a:pt x="154" y="379"/>
                  </a:lnTo>
                  <a:lnTo>
                    <a:pt x="152" y="377"/>
                  </a:lnTo>
                  <a:lnTo>
                    <a:pt x="150" y="379"/>
                  </a:lnTo>
                  <a:lnTo>
                    <a:pt x="148" y="378"/>
                  </a:lnTo>
                  <a:lnTo>
                    <a:pt x="144" y="379"/>
                  </a:lnTo>
                  <a:lnTo>
                    <a:pt x="136" y="372"/>
                  </a:lnTo>
                  <a:lnTo>
                    <a:pt x="131" y="361"/>
                  </a:lnTo>
                  <a:lnTo>
                    <a:pt x="127" y="315"/>
                  </a:lnTo>
                  <a:lnTo>
                    <a:pt x="121" y="315"/>
                  </a:lnTo>
                  <a:lnTo>
                    <a:pt x="118" y="318"/>
                  </a:lnTo>
                  <a:lnTo>
                    <a:pt x="115" y="317"/>
                  </a:lnTo>
                  <a:lnTo>
                    <a:pt x="104" y="311"/>
                  </a:lnTo>
                  <a:lnTo>
                    <a:pt x="102" y="309"/>
                  </a:lnTo>
                  <a:lnTo>
                    <a:pt x="100" y="313"/>
                  </a:lnTo>
                  <a:lnTo>
                    <a:pt x="97" y="314"/>
                  </a:lnTo>
                  <a:lnTo>
                    <a:pt x="95" y="320"/>
                  </a:lnTo>
                  <a:lnTo>
                    <a:pt x="89" y="324"/>
                  </a:lnTo>
                  <a:lnTo>
                    <a:pt x="88" y="329"/>
                  </a:lnTo>
                  <a:lnTo>
                    <a:pt x="78" y="333"/>
                  </a:lnTo>
                  <a:lnTo>
                    <a:pt x="74" y="335"/>
                  </a:lnTo>
                  <a:lnTo>
                    <a:pt x="67" y="332"/>
                  </a:lnTo>
                  <a:lnTo>
                    <a:pt x="62" y="332"/>
                  </a:lnTo>
                  <a:lnTo>
                    <a:pt x="56" y="329"/>
                  </a:lnTo>
                  <a:lnTo>
                    <a:pt x="44" y="327"/>
                  </a:lnTo>
                  <a:lnTo>
                    <a:pt x="42" y="326"/>
                  </a:lnTo>
                  <a:lnTo>
                    <a:pt x="37" y="314"/>
                  </a:lnTo>
                  <a:lnTo>
                    <a:pt x="38" y="308"/>
                  </a:lnTo>
                  <a:lnTo>
                    <a:pt x="34" y="302"/>
                  </a:lnTo>
                  <a:lnTo>
                    <a:pt x="35" y="295"/>
                  </a:lnTo>
                  <a:lnTo>
                    <a:pt x="24" y="290"/>
                  </a:lnTo>
                  <a:lnTo>
                    <a:pt x="23" y="297"/>
                  </a:lnTo>
                  <a:lnTo>
                    <a:pt x="18" y="296"/>
                  </a:lnTo>
                  <a:lnTo>
                    <a:pt x="13" y="289"/>
                  </a:lnTo>
                  <a:lnTo>
                    <a:pt x="5" y="291"/>
                  </a:lnTo>
                  <a:lnTo>
                    <a:pt x="0" y="289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6" name="Freeform 14"/>
            <p:cNvSpPr>
              <a:spLocks/>
            </p:cNvSpPr>
            <p:nvPr/>
          </p:nvSpPr>
          <p:spPr bwMode="auto">
            <a:xfrm>
              <a:off x="4287838" y="4778375"/>
              <a:ext cx="571500" cy="392113"/>
            </a:xfrm>
            <a:custGeom>
              <a:avLst/>
              <a:gdLst>
                <a:gd name="T0" fmla="*/ 15079356 w 721"/>
                <a:gd name="T1" fmla="*/ 80621121 h 496"/>
                <a:gd name="T2" fmla="*/ 25760303 w 721"/>
                <a:gd name="T3" fmla="*/ 77496075 h 496"/>
                <a:gd name="T4" fmla="*/ 32042840 w 721"/>
                <a:gd name="T5" fmla="*/ 58122056 h 496"/>
                <a:gd name="T6" fmla="*/ 47749974 w 721"/>
                <a:gd name="T7" fmla="*/ 29998226 h 496"/>
                <a:gd name="T8" fmla="*/ 66599170 w 721"/>
                <a:gd name="T9" fmla="*/ 36872852 h 496"/>
                <a:gd name="T10" fmla="*/ 77907895 w 721"/>
                <a:gd name="T11" fmla="*/ 48747710 h 496"/>
                <a:gd name="T12" fmla="*/ 98642010 w 721"/>
                <a:gd name="T13" fmla="*/ 45622664 h 496"/>
                <a:gd name="T14" fmla="*/ 140109447 w 721"/>
                <a:gd name="T15" fmla="*/ 53122615 h 496"/>
                <a:gd name="T16" fmla="*/ 151418172 w 721"/>
                <a:gd name="T17" fmla="*/ 59371916 h 496"/>
                <a:gd name="T18" fmla="*/ 163984038 w 721"/>
                <a:gd name="T19" fmla="*/ 60621777 h 496"/>
                <a:gd name="T20" fmla="*/ 180948314 w 721"/>
                <a:gd name="T21" fmla="*/ 66246543 h 496"/>
                <a:gd name="T22" fmla="*/ 172780858 w 721"/>
                <a:gd name="T23" fmla="*/ 41873083 h 496"/>
                <a:gd name="T24" fmla="*/ 169638797 w 721"/>
                <a:gd name="T25" fmla="*/ 28748365 h 496"/>
                <a:gd name="T26" fmla="*/ 166497528 w 721"/>
                <a:gd name="T27" fmla="*/ 18749484 h 496"/>
                <a:gd name="T28" fmla="*/ 169011019 w 721"/>
                <a:gd name="T29" fmla="*/ 3749581 h 496"/>
                <a:gd name="T30" fmla="*/ 177178475 w 721"/>
                <a:gd name="T31" fmla="*/ 9999672 h 496"/>
                <a:gd name="T32" fmla="*/ 191000690 w 721"/>
                <a:gd name="T33" fmla="*/ 5624766 h 496"/>
                <a:gd name="T34" fmla="*/ 197911798 w 721"/>
                <a:gd name="T35" fmla="*/ 3749581 h 496"/>
                <a:gd name="T36" fmla="*/ 213619725 w 721"/>
                <a:gd name="T37" fmla="*/ 19374019 h 496"/>
                <a:gd name="T38" fmla="*/ 209221315 w 721"/>
                <a:gd name="T39" fmla="*/ 33123271 h 496"/>
                <a:gd name="T40" fmla="*/ 202310207 w 721"/>
                <a:gd name="T41" fmla="*/ 45622664 h 496"/>
                <a:gd name="T42" fmla="*/ 215504644 w 721"/>
                <a:gd name="T43" fmla="*/ 47497849 h 496"/>
                <a:gd name="T44" fmla="*/ 233096698 w 721"/>
                <a:gd name="T45" fmla="*/ 44998129 h 496"/>
                <a:gd name="T46" fmla="*/ 255714940 w 721"/>
                <a:gd name="T47" fmla="*/ 31873411 h 496"/>
                <a:gd name="T48" fmla="*/ 267024458 w 721"/>
                <a:gd name="T49" fmla="*/ 26873970 h 496"/>
                <a:gd name="T50" fmla="*/ 275191914 w 721"/>
                <a:gd name="T51" fmla="*/ 24373459 h 496"/>
                <a:gd name="T52" fmla="*/ 284616512 w 721"/>
                <a:gd name="T53" fmla="*/ 6874626 h 496"/>
                <a:gd name="T54" fmla="*/ 293412539 w 721"/>
                <a:gd name="T55" fmla="*/ 11874067 h 496"/>
                <a:gd name="T56" fmla="*/ 309119673 w 721"/>
                <a:gd name="T57" fmla="*/ 43122943 h 496"/>
                <a:gd name="T58" fmla="*/ 327340298 w 721"/>
                <a:gd name="T59" fmla="*/ 34373132 h 496"/>
                <a:gd name="T60" fmla="*/ 339278386 w 721"/>
                <a:gd name="T61" fmla="*/ 51247430 h 496"/>
                <a:gd name="T62" fmla="*/ 356241870 w 721"/>
                <a:gd name="T63" fmla="*/ 70621449 h 496"/>
                <a:gd name="T64" fmla="*/ 372577575 w 721"/>
                <a:gd name="T65" fmla="*/ 83120841 h 496"/>
                <a:gd name="T66" fmla="*/ 390798200 w 721"/>
                <a:gd name="T67" fmla="*/ 101870325 h 496"/>
                <a:gd name="T68" fmla="*/ 416557710 w 721"/>
                <a:gd name="T69" fmla="*/ 112494532 h 496"/>
                <a:gd name="T70" fmla="*/ 415301361 w 721"/>
                <a:gd name="T71" fmla="*/ 159367056 h 496"/>
                <a:gd name="T72" fmla="*/ 434150557 w 721"/>
                <a:gd name="T73" fmla="*/ 216239252 h 496"/>
                <a:gd name="T74" fmla="*/ 452370389 w 721"/>
                <a:gd name="T75" fmla="*/ 227488784 h 496"/>
                <a:gd name="T76" fmla="*/ 443574362 w 721"/>
                <a:gd name="T77" fmla="*/ 258737660 h 496"/>
                <a:gd name="T78" fmla="*/ 429752147 w 721"/>
                <a:gd name="T79" fmla="*/ 269987193 h 496"/>
                <a:gd name="T80" fmla="*/ 424097388 w 721"/>
                <a:gd name="T81" fmla="*/ 284360980 h 496"/>
                <a:gd name="T82" fmla="*/ 405876764 w 721"/>
                <a:gd name="T83" fmla="*/ 296235838 h 496"/>
                <a:gd name="T84" fmla="*/ 396452958 w 721"/>
                <a:gd name="T85" fmla="*/ 303110464 h 496"/>
                <a:gd name="T86" fmla="*/ 388284709 w 721"/>
                <a:gd name="T87" fmla="*/ 294360652 h 496"/>
                <a:gd name="T88" fmla="*/ 373206146 w 721"/>
                <a:gd name="T89" fmla="*/ 288735886 h 496"/>
                <a:gd name="T90" fmla="*/ 357498218 w 721"/>
                <a:gd name="T91" fmla="*/ 284986305 h 496"/>
                <a:gd name="T92" fmla="*/ 322314110 w 721"/>
                <a:gd name="T93" fmla="*/ 279986865 h 496"/>
                <a:gd name="T94" fmla="*/ 285872861 w 721"/>
                <a:gd name="T95" fmla="*/ 271861588 h 496"/>
                <a:gd name="T96" fmla="*/ 253202243 w 721"/>
                <a:gd name="T97" fmla="*/ 260612846 h 496"/>
                <a:gd name="T98" fmla="*/ 243149074 w 721"/>
                <a:gd name="T99" fmla="*/ 254988080 h 496"/>
                <a:gd name="T100" fmla="*/ 226185591 w 721"/>
                <a:gd name="T101" fmla="*/ 242488687 h 496"/>
                <a:gd name="T102" fmla="*/ 194770529 w 721"/>
                <a:gd name="T103" fmla="*/ 231863690 h 496"/>
                <a:gd name="T104" fmla="*/ 135711037 w 721"/>
                <a:gd name="T105" fmla="*/ 209989951 h 496"/>
                <a:gd name="T106" fmla="*/ 106181688 w 721"/>
                <a:gd name="T107" fmla="*/ 199365744 h 496"/>
                <a:gd name="T108" fmla="*/ 100526929 w 721"/>
                <a:gd name="T109" fmla="*/ 191240467 h 496"/>
                <a:gd name="T110" fmla="*/ 70996787 w 721"/>
                <a:gd name="T111" fmla="*/ 171866448 h 496"/>
                <a:gd name="T112" fmla="*/ 53404733 w 721"/>
                <a:gd name="T113" fmla="*/ 161867567 h 496"/>
                <a:gd name="T114" fmla="*/ 45865055 w 721"/>
                <a:gd name="T115" fmla="*/ 150618034 h 496"/>
                <a:gd name="T116" fmla="*/ 39582518 w 721"/>
                <a:gd name="T117" fmla="*/ 152492429 h 496"/>
                <a:gd name="T118" fmla="*/ 38326169 w 721"/>
                <a:gd name="T119" fmla="*/ 150618034 h 496"/>
                <a:gd name="T120" fmla="*/ 32042840 w 721"/>
                <a:gd name="T121" fmla="*/ 145617803 h 496"/>
                <a:gd name="T122" fmla="*/ 15079356 w 721"/>
                <a:gd name="T123" fmla="*/ 127493645 h 496"/>
                <a:gd name="T124" fmla="*/ 5654759 w 721"/>
                <a:gd name="T125" fmla="*/ 114369717 h 49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21"/>
                <a:gd name="T190" fmla="*/ 0 h 496"/>
                <a:gd name="T191" fmla="*/ 721 w 721"/>
                <a:gd name="T192" fmla="*/ 496 h 49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21" h="496">
                  <a:moveTo>
                    <a:pt x="0" y="172"/>
                  </a:moveTo>
                  <a:lnTo>
                    <a:pt x="4" y="157"/>
                  </a:lnTo>
                  <a:lnTo>
                    <a:pt x="5" y="129"/>
                  </a:lnTo>
                  <a:lnTo>
                    <a:pt x="17" y="125"/>
                  </a:lnTo>
                  <a:lnTo>
                    <a:pt x="24" y="129"/>
                  </a:lnTo>
                  <a:lnTo>
                    <a:pt x="29" y="127"/>
                  </a:lnTo>
                  <a:lnTo>
                    <a:pt x="27" y="125"/>
                  </a:lnTo>
                  <a:lnTo>
                    <a:pt x="29" y="124"/>
                  </a:lnTo>
                  <a:lnTo>
                    <a:pt x="36" y="129"/>
                  </a:lnTo>
                  <a:lnTo>
                    <a:pt x="41" y="124"/>
                  </a:lnTo>
                  <a:lnTo>
                    <a:pt x="41" y="121"/>
                  </a:lnTo>
                  <a:lnTo>
                    <a:pt x="49" y="119"/>
                  </a:lnTo>
                  <a:lnTo>
                    <a:pt x="52" y="115"/>
                  </a:lnTo>
                  <a:lnTo>
                    <a:pt x="53" y="107"/>
                  </a:lnTo>
                  <a:lnTo>
                    <a:pt x="51" y="93"/>
                  </a:lnTo>
                  <a:lnTo>
                    <a:pt x="48" y="88"/>
                  </a:lnTo>
                  <a:lnTo>
                    <a:pt x="48" y="65"/>
                  </a:lnTo>
                  <a:lnTo>
                    <a:pt x="52" y="55"/>
                  </a:lnTo>
                  <a:lnTo>
                    <a:pt x="70" y="48"/>
                  </a:lnTo>
                  <a:lnTo>
                    <a:pt x="76" y="48"/>
                  </a:lnTo>
                  <a:lnTo>
                    <a:pt x="81" y="49"/>
                  </a:lnTo>
                  <a:lnTo>
                    <a:pt x="85" y="52"/>
                  </a:lnTo>
                  <a:lnTo>
                    <a:pt x="97" y="51"/>
                  </a:lnTo>
                  <a:lnTo>
                    <a:pt x="101" y="54"/>
                  </a:lnTo>
                  <a:lnTo>
                    <a:pt x="106" y="59"/>
                  </a:lnTo>
                  <a:lnTo>
                    <a:pt x="107" y="64"/>
                  </a:lnTo>
                  <a:lnTo>
                    <a:pt x="117" y="72"/>
                  </a:lnTo>
                  <a:lnTo>
                    <a:pt x="119" y="76"/>
                  </a:lnTo>
                  <a:lnTo>
                    <a:pt x="121" y="76"/>
                  </a:lnTo>
                  <a:lnTo>
                    <a:pt x="124" y="78"/>
                  </a:lnTo>
                  <a:lnTo>
                    <a:pt x="132" y="78"/>
                  </a:lnTo>
                  <a:lnTo>
                    <a:pt x="135" y="77"/>
                  </a:lnTo>
                  <a:lnTo>
                    <a:pt x="137" y="78"/>
                  </a:lnTo>
                  <a:lnTo>
                    <a:pt x="150" y="77"/>
                  </a:lnTo>
                  <a:lnTo>
                    <a:pt x="157" y="73"/>
                  </a:lnTo>
                  <a:lnTo>
                    <a:pt x="181" y="75"/>
                  </a:lnTo>
                  <a:lnTo>
                    <a:pt x="192" y="77"/>
                  </a:lnTo>
                  <a:lnTo>
                    <a:pt x="209" y="83"/>
                  </a:lnTo>
                  <a:lnTo>
                    <a:pt x="220" y="84"/>
                  </a:lnTo>
                  <a:lnTo>
                    <a:pt x="223" y="85"/>
                  </a:lnTo>
                  <a:lnTo>
                    <a:pt x="227" y="84"/>
                  </a:lnTo>
                  <a:lnTo>
                    <a:pt x="232" y="84"/>
                  </a:lnTo>
                  <a:lnTo>
                    <a:pt x="231" y="91"/>
                  </a:lnTo>
                  <a:lnTo>
                    <a:pt x="241" y="97"/>
                  </a:lnTo>
                  <a:lnTo>
                    <a:pt x="241" y="95"/>
                  </a:lnTo>
                  <a:lnTo>
                    <a:pt x="244" y="94"/>
                  </a:lnTo>
                  <a:lnTo>
                    <a:pt x="247" y="95"/>
                  </a:lnTo>
                  <a:lnTo>
                    <a:pt x="250" y="93"/>
                  </a:lnTo>
                  <a:lnTo>
                    <a:pt x="258" y="95"/>
                  </a:lnTo>
                  <a:lnTo>
                    <a:pt x="261" y="97"/>
                  </a:lnTo>
                  <a:lnTo>
                    <a:pt x="270" y="100"/>
                  </a:lnTo>
                  <a:lnTo>
                    <a:pt x="269" y="108"/>
                  </a:lnTo>
                  <a:lnTo>
                    <a:pt x="271" y="111"/>
                  </a:lnTo>
                  <a:lnTo>
                    <a:pt x="279" y="111"/>
                  </a:lnTo>
                  <a:lnTo>
                    <a:pt x="288" y="106"/>
                  </a:lnTo>
                  <a:lnTo>
                    <a:pt x="289" y="103"/>
                  </a:lnTo>
                  <a:lnTo>
                    <a:pt x="289" y="100"/>
                  </a:lnTo>
                  <a:lnTo>
                    <a:pt x="286" y="97"/>
                  </a:lnTo>
                  <a:lnTo>
                    <a:pt x="279" y="90"/>
                  </a:lnTo>
                  <a:lnTo>
                    <a:pt x="275" y="67"/>
                  </a:lnTo>
                  <a:lnTo>
                    <a:pt x="275" y="63"/>
                  </a:lnTo>
                  <a:lnTo>
                    <a:pt x="273" y="58"/>
                  </a:lnTo>
                  <a:lnTo>
                    <a:pt x="271" y="51"/>
                  </a:lnTo>
                  <a:lnTo>
                    <a:pt x="269" y="48"/>
                  </a:lnTo>
                  <a:lnTo>
                    <a:pt x="270" y="46"/>
                  </a:lnTo>
                  <a:lnTo>
                    <a:pt x="271" y="42"/>
                  </a:lnTo>
                  <a:lnTo>
                    <a:pt x="270" y="39"/>
                  </a:lnTo>
                  <a:lnTo>
                    <a:pt x="267" y="37"/>
                  </a:lnTo>
                  <a:lnTo>
                    <a:pt x="265" y="34"/>
                  </a:lnTo>
                  <a:lnTo>
                    <a:pt x="265" y="30"/>
                  </a:lnTo>
                  <a:lnTo>
                    <a:pt x="268" y="29"/>
                  </a:lnTo>
                  <a:lnTo>
                    <a:pt x="267" y="19"/>
                  </a:lnTo>
                  <a:lnTo>
                    <a:pt x="265" y="16"/>
                  </a:lnTo>
                  <a:lnTo>
                    <a:pt x="264" y="11"/>
                  </a:lnTo>
                  <a:lnTo>
                    <a:pt x="269" y="6"/>
                  </a:lnTo>
                  <a:lnTo>
                    <a:pt x="275" y="7"/>
                  </a:lnTo>
                  <a:lnTo>
                    <a:pt x="277" y="11"/>
                  </a:lnTo>
                  <a:lnTo>
                    <a:pt x="279" y="16"/>
                  </a:lnTo>
                  <a:lnTo>
                    <a:pt x="280" y="17"/>
                  </a:lnTo>
                  <a:lnTo>
                    <a:pt x="282" y="16"/>
                  </a:lnTo>
                  <a:lnTo>
                    <a:pt x="287" y="11"/>
                  </a:lnTo>
                  <a:lnTo>
                    <a:pt x="289" y="5"/>
                  </a:lnTo>
                  <a:lnTo>
                    <a:pt x="292" y="4"/>
                  </a:lnTo>
                  <a:lnTo>
                    <a:pt x="292" y="9"/>
                  </a:lnTo>
                  <a:lnTo>
                    <a:pt x="304" y="9"/>
                  </a:lnTo>
                  <a:lnTo>
                    <a:pt x="306" y="10"/>
                  </a:lnTo>
                  <a:lnTo>
                    <a:pt x="309" y="6"/>
                  </a:lnTo>
                  <a:lnTo>
                    <a:pt x="310" y="3"/>
                  </a:lnTo>
                  <a:lnTo>
                    <a:pt x="316" y="0"/>
                  </a:lnTo>
                  <a:lnTo>
                    <a:pt x="315" y="6"/>
                  </a:lnTo>
                  <a:lnTo>
                    <a:pt x="319" y="17"/>
                  </a:lnTo>
                  <a:lnTo>
                    <a:pt x="321" y="21"/>
                  </a:lnTo>
                  <a:lnTo>
                    <a:pt x="336" y="25"/>
                  </a:lnTo>
                  <a:lnTo>
                    <a:pt x="340" y="28"/>
                  </a:lnTo>
                  <a:lnTo>
                    <a:pt x="340" y="31"/>
                  </a:lnTo>
                  <a:lnTo>
                    <a:pt x="339" y="33"/>
                  </a:lnTo>
                  <a:lnTo>
                    <a:pt x="337" y="35"/>
                  </a:lnTo>
                  <a:lnTo>
                    <a:pt x="334" y="40"/>
                  </a:lnTo>
                  <a:lnTo>
                    <a:pt x="333" y="43"/>
                  </a:lnTo>
                  <a:lnTo>
                    <a:pt x="333" y="53"/>
                  </a:lnTo>
                  <a:lnTo>
                    <a:pt x="331" y="61"/>
                  </a:lnTo>
                  <a:lnTo>
                    <a:pt x="329" y="65"/>
                  </a:lnTo>
                  <a:lnTo>
                    <a:pt x="325" y="69"/>
                  </a:lnTo>
                  <a:lnTo>
                    <a:pt x="322" y="71"/>
                  </a:lnTo>
                  <a:lnTo>
                    <a:pt x="322" y="73"/>
                  </a:lnTo>
                  <a:lnTo>
                    <a:pt x="324" y="76"/>
                  </a:lnTo>
                  <a:lnTo>
                    <a:pt x="328" y="76"/>
                  </a:lnTo>
                  <a:lnTo>
                    <a:pt x="331" y="72"/>
                  </a:lnTo>
                  <a:lnTo>
                    <a:pt x="341" y="73"/>
                  </a:lnTo>
                  <a:lnTo>
                    <a:pt x="343" y="76"/>
                  </a:lnTo>
                  <a:lnTo>
                    <a:pt x="342" y="79"/>
                  </a:lnTo>
                  <a:lnTo>
                    <a:pt x="342" y="90"/>
                  </a:lnTo>
                  <a:lnTo>
                    <a:pt x="354" y="90"/>
                  </a:lnTo>
                  <a:lnTo>
                    <a:pt x="357" y="85"/>
                  </a:lnTo>
                  <a:lnTo>
                    <a:pt x="371" y="72"/>
                  </a:lnTo>
                  <a:lnTo>
                    <a:pt x="378" y="55"/>
                  </a:lnTo>
                  <a:lnTo>
                    <a:pt x="394" y="53"/>
                  </a:lnTo>
                  <a:lnTo>
                    <a:pt x="397" y="48"/>
                  </a:lnTo>
                  <a:lnTo>
                    <a:pt x="400" y="47"/>
                  </a:lnTo>
                  <a:lnTo>
                    <a:pt x="407" y="51"/>
                  </a:lnTo>
                  <a:lnTo>
                    <a:pt x="408" y="48"/>
                  </a:lnTo>
                  <a:lnTo>
                    <a:pt x="414" y="45"/>
                  </a:lnTo>
                  <a:lnTo>
                    <a:pt x="419" y="46"/>
                  </a:lnTo>
                  <a:lnTo>
                    <a:pt x="421" y="45"/>
                  </a:lnTo>
                  <a:lnTo>
                    <a:pt x="425" y="43"/>
                  </a:lnTo>
                  <a:lnTo>
                    <a:pt x="429" y="45"/>
                  </a:lnTo>
                  <a:lnTo>
                    <a:pt x="430" y="41"/>
                  </a:lnTo>
                  <a:lnTo>
                    <a:pt x="430" y="39"/>
                  </a:lnTo>
                  <a:lnTo>
                    <a:pt x="436" y="37"/>
                  </a:lnTo>
                  <a:lnTo>
                    <a:pt x="438" y="39"/>
                  </a:lnTo>
                  <a:lnTo>
                    <a:pt x="447" y="25"/>
                  </a:lnTo>
                  <a:lnTo>
                    <a:pt x="449" y="22"/>
                  </a:lnTo>
                  <a:lnTo>
                    <a:pt x="453" y="18"/>
                  </a:lnTo>
                  <a:lnTo>
                    <a:pt x="457" y="18"/>
                  </a:lnTo>
                  <a:lnTo>
                    <a:pt x="453" y="11"/>
                  </a:lnTo>
                  <a:lnTo>
                    <a:pt x="457" y="9"/>
                  </a:lnTo>
                  <a:lnTo>
                    <a:pt x="461" y="13"/>
                  </a:lnTo>
                  <a:lnTo>
                    <a:pt x="465" y="16"/>
                  </a:lnTo>
                  <a:lnTo>
                    <a:pt x="466" y="18"/>
                  </a:lnTo>
                  <a:lnTo>
                    <a:pt x="467" y="19"/>
                  </a:lnTo>
                  <a:lnTo>
                    <a:pt x="469" y="33"/>
                  </a:lnTo>
                  <a:lnTo>
                    <a:pt x="481" y="34"/>
                  </a:lnTo>
                  <a:lnTo>
                    <a:pt x="484" y="49"/>
                  </a:lnTo>
                  <a:lnTo>
                    <a:pt x="489" y="64"/>
                  </a:lnTo>
                  <a:lnTo>
                    <a:pt x="492" y="69"/>
                  </a:lnTo>
                  <a:lnTo>
                    <a:pt x="496" y="70"/>
                  </a:lnTo>
                  <a:lnTo>
                    <a:pt x="510" y="66"/>
                  </a:lnTo>
                  <a:lnTo>
                    <a:pt x="515" y="60"/>
                  </a:lnTo>
                  <a:lnTo>
                    <a:pt x="520" y="55"/>
                  </a:lnTo>
                  <a:lnTo>
                    <a:pt x="521" y="55"/>
                  </a:lnTo>
                  <a:lnTo>
                    <a:pt x="526" y="59"/>
                  </a:lnTo>
                  <a:lnTo>
                    <a:pt x="529" y="69"/>
                  </a:lnTo>
                  <a:lnTo>
                    <a:pt x="532" y="71"/>
                  </a:lnTo>
                  <a:lnTo>
                    <a:pt x="537" y="79"/>
                  </a:lnTo>
                  <a:lnTo>
                    <a:pt x="540" y="82"/>
                  </a:lnTo>
                  <a:lnTo>
                    <a:pt x="544" y="88"/>
                  </a:lnTo>
                  <a:lnTo>
                    <a:pt x="544" y="90"/>
                  </a:lnTo>
                  <a:lnTo>
                    <a:pt x="546" y="96"/>
                  </a:lnTo>
                  <a:lnTo>
                    <a:pt x="563" y="112"/>
                  </a:lnTo>
                  <a:lnTo>
                    <a:pt x="567" y="113"/>
                  </a:lnTo>
                  <a:lnTo>
                    <a:pt x="571" y="115"/>
                  </a:lnTo>
                  <a:lnTo>
                    <a:pt x="574" y="118"/>
                  </a:lnTo>
                  <a:lnTo>
                    <a:pt x="575" y="126"/>
                  </a:lnTo>
                  <a:lnTo>
                    <a:pt x="581" y="132"/>
                  </a:lnTo>
                  <a:lnTo>
                    <a:pt x="593" y="133"/>
                  </a:lnTo>
                  <a:lnTo>
                    <a:pt x="598" y="138"/>
                  </a:lnTo>
                  <a:lnTo>
                    <a:pt x="600" y="142"/>
                  </a:lnTo>
                  <a:lnTo>
                    <a:pt x="603" y="149"/>
                  </a:lnTo>
                  <a:lnTo>
                    <a:pt x="618" y="159"/>
                  </a:lnTo>
                  <a:lnTo>
                    <a:pt x="622" y="163"/>
                  </a:lnTo>
                  <a:lnTo>
                    <a:pt x="630" y="163"/>
                  </a:lnTo>
                  <a:lnTo>
                    <a:pt x="642" y="163"/>
                  </a:lnTo>
                  <a:lnTo>
                    <a:pt x="647" y="167"/>
                  </a:lnTo>
                  <a:lnTo>
                    <a:pt x="658" y="177"/>
                  </a:lnTo>
                  <a:lnTo>
                    <a:pt x="663" y="180"/>
                  </a:lnTo>
                  <a:lnTo>
                    <a:pt x="661" y="190"/>
                  </a:lnTo>
                  <a:lnTo>
                    <a:pt x="663" y="204"/>
                  </a:lnTo>
                  <a:lnTo>
                    <a:pt x="654" y="244"/>
                  </a:lnTo>
                  <a:lnTo>
                    <a:pt x="657" y="250"/>
                  </a:lnTo>
                  <a:lnTo>
                    <a:pt x="661" y="255"/>
                  </a:lnTo>
                  <a:lnTo>
                    <a:pt x="666" y="263"/>
                  </a:lnTo>
                  <a:lnTo>
                    <a:pt x="672" y="319"/>
                  </a:lnTo>
                  <a:lnTo>
                    <a:pt x="683" y="322"/>
                  </a:lnTo>
                  <a:lnTo>
                    <a:pt x="688" y="325"/>
                  </a:lnTo>
                  <a:lnTo>
                    <a:pt x="691" y="346"/>
                  </a:lnTo>
                  <a:lnTo>
                    <a:pt x="695" y="352"/>
                  </a:lnTo>
                  <a:lnTo>
                    <a:pt x="701" y="358"/>
                  </a:lnTo>
                  <a:lnTo>
                    <a:pt x="703" y="357"/>
                  </a:lnTo>
                  <a:lnTo>
                    <a:pt x="706" y="359"/>
                  </a:lnTo>
                  <a:lnTo>
                    <a:pt x="720" y="364"/>
                  </a:lnTo>
                  <a:lnTo>
                    <a:pt x="721" y="376"/>
                  </a:lnTo>
                  <a:lnTo>
                    <a:pt x="717" y="382"/>
                  </a:lnTo>
                  <a:lnTo>
                    <a:pt x="713" y="385"/>
                  </a:lnTo>
                  <a:lnTo>
                    <a:pt x="712" y="397"/>
                  </a:lnTo>
                  <a:lnTo>
                    <a:pt x="706" y="414"/>
                  </a:lnTo>
                  <a:lnTo>
                    <a:pt x="701" y="420"/>
                  </a:lnTo>
                  <a:lnTo>
                    <a:pt x="699" y="421"/>
                  </a:lnTo>
                  <a:lnTo>
                    <a:pt x="696" y="427"/>
                  </a:lnTo>
                  <a:lnTo>
                    <a:pt x="689" y="429"/>
                  </a:lnTo>
                  <a:lnTo>
                    <a:pt x="684" y="432"/>
                  </a:lnTo>
                  <a:lnTo>
                    <a:pt x="683" y="430"/>
                  </a:lnTo>
                  <a:lnTo>
                    <a:pt x="675" y="432"/>
                  </a:lnTo>
                  <a:lnTo>
                    <a:pt x="683" y="448"/>
                  </a:lnTo>
                  <a:lnTo>
                    <a:pt x="682" y="451"/>
                  </a:lnTo>
                  <a:lnTo>
                    <a:pt x="675" y="455"/>
                  </a:lnTo>
                  <a:lnTo>
                    <a:pt x="669" y="462"/>
                  </a:lnTo>
                  <a:lnTo>
                    <a:pt x="665" y="463"/>
                  </a:lnTo>
                  <a:lnTo>
                    <a:pt x="661" y="462"/>
                  </a:lnTo>
                  <a:lnTo>
                    <a:pt x="653" y="467"/>
                  </a:lnTo>
                  <a:lnTo>
                    <a:pt x="646" y="474"/>
                  </a:lnTo>
                  <a:lnTo>
                    <a:pt x="647" y="485"/>
                  </a:lnTo>
                  <a:lnTo>
                    <a:pt x="649" y="490"/>
                  </a:lnTo>
                  <a:lnTo>
                    <a:pt x="647" y="492"/>
                  </a:lnTo>
                  <a:lnTo>
                    <a:pt x="641" y="496"/>
                  </a:lnTo>
                  <a:lnTo>
                    <a:pt x="631" y="485"/>
                  </a:lnTo>
                  <a:lnTo>
                    <a:pt x="625" y="483"/>
                  </a:lnTo>
                  <a:lnTo>
                    <a:pt x="622" y="477"/>
                  </a:lnTo>
                  <a:lnTo>
                    <a:pt x="619" y="474"/>
                  </a:lnTo>
                  <a:lnTo>
                    <a:pt x="621" y="472"/>
                  </a:lnTo>
                  <a:lnTo>
                    <a:pt x="618" y="471"/>
                  </a:lnTo>
                  <a:lnTo>
                    <a:pt x="611" y="465"/>
                  </a:lnTo>
                  <a:lnTo>
                    <a:pt x="604" y="462"/>
                  </a:lnTo>
                  <a:lnTo>
                    <a:pt x="597" y="463"/>
                  </a:lnTo>
                  <a:lnTo>
                    <a:pt x="597" y="462"/>
                  </a:lnTo>
                  <a:lnTo>
                    <a:pt x="594" y="462"/>
                  </a:lnTo>
                  <a:lnTo>
                    <a:pt x="595" y="465"/>
                  </a:lnTo>
                  <a:lnTo>
                    <a:pt x="592" y="467"/>
                  </a:lnTo>
                  <a:lnTo>
                    <a:pt x="573" y="460"/>
                  </a:lnTo>
                  <a:lnTo>
                    <a:pt x="570" y="457"/>
                  </a:lnTo>
                  <a:lnTo>
                    <a:pt x="569" y="456"/>
                  </a:lnTo>
                  <a:lnTo>
                    <a:pt x="565" y="456"/>
                  </a:lnTo>
                  <a:lnTo>
                    <a:pt x="543" y="453"/>
                  </a:lnTo>
                  <a:lnTo>
                    <a:pt x="532" y="450"/>
                  </a:lnTo>
                  <a:lnTo>
                    <a:pt x="522" y="449"/>
                  </a:lnTo>
                  <a:lnTo>
                    <a:pt x="513" y="448"/>
                  </a:lnTo>
                  <a:lnTo>
                    <a:pt x="503" y="445"/>
                  </a:lnTo>
                  <a:lnTo>
                    <a:pt x="491" y="441"/>
                  </a:lnTo>
                  <a:lnTo>
                    <a:pt x="473" y="436"/>
                  </a:lnTo>
                  <a:lnTo>
                    <a:pt x="465" y="436"/>
                  </a:lnTo>
                  <a:lnTo>
                    <a:pt x="455" y="435"/>
                  </a:lnTo>
                  <a:lnTo>
                    <a:pt x="450" y="436"/>
                  </a:lnTo>
                  <a:lnTo>
                    <a:pt x="429" y="433"/>
                  </a:lnTo>
                  <a:lnTo>
                    <a:pt x="418" y="429"/>
                  </a:lnTo>
                  <a:lnTo>
                    <a:pt x="414" y="426"/>
                  </a:lnTo>
                  <a:lnTo>
                    <a:pt x="403" y="417"/>
                  </a:lnTo>
                  <a:lnTo>
                    <a:pt x="400" y="417"/>
                  </a:lnTo>
                  <a:lnTo>
                    <a:pt x="397" y="414"/>
                  </a:lnTo>
                  <a:lnTo>
                    <a:pt x="395" y="411"/>
                  </a:lnTo>
                  <a:lnTo>
                    <a:pt x="389" y="408"/>
                  </a:lnTo>
                  <a:lnTo>
                    <a:pt x="387" y="408"/>
                  </a:lnTo>
                  <a:lnTo>
                    <a:pt x="384" y="406"/>
                  </a:lnTo>
                  <a:lnTo>
                    <a:pt x="383" y="401"/>
                  </a:lnTo>
                  <a:lnTo>
                    <a:pt x="381" y="397"/>
                  </a:lnTo>
                  <a:lnTo>
                    <a:pt x="376" y="394"/>
                  </a:lnTo>
                  <a:lnTo>
                    <a:pt x="360" y="388"/>
                  </a:lnTo>
                  <a:lnTo>
                    <a:pt x="351" y="385"/>
                  </a:lnTo>
                  <a:lnTo>
                    <a:pt x="347" y="384"/>
                  </a:lnTo>
                  <a:lnTo>
                    <a:pt x="345" y="384"/>
                  </a:lnTo>
                  <a:lnTo>
                    <a:pt x="341" y="384"/>
                  </a:lnTo>
                  <a:lnTo>
                    <a:pt x="310" y="371"/>
                  </a:lnTo>
                  <a:lnTo>
                    <a:pt x="286" y="360"/>
                  </a:lnTo>
                  <a:lnTo>
                    <a:pt x="265" y="354"/>
                  </a:lnTo>
                  <a:lnTo>
                    <a:pt x="255" y="349"/>
                  </a:lnTo>
                  <a:lnTo>
                    <a:pt x="238" y="343"/>
                  </a:lnTo>
                  <a:lnTo>
                    <a:pt x="216" y="336"/>
                  </a:lnTo>
                  <a:lnTo>
                    <a:pt x="205" y="330"/>
                  </a:lnTo>
                  <a:lnTo>
                    <a:pt x="189" y="327"/>
                  </a:lnTo>
                  <a:lnTo>
                    <a:pt x="172" y="318"/>
                  </a:lnTo>
                  <a:lnTo>
                    <a:pt x="171" y="319"/>
                  </a:lnTo>
                  <a:lnTo>
                    <a:pt x="169" y="319"/>
                  </a:lnTo>
                  <a:lnTo>
                    <a:pt x="166" y="316"/>
                  </a:lnTo>
                  <a:lnTo>
                    <a:pt x="163" y="316"/>
                  </a:lnTo>
                  <a:lnTo>
                    <a:pt x="162" y="315"/>
                  </a:lnTo>
                  <a:lnTo>
                    <a:pt x="161" y="316"/>
                  </a:lnTo>
                  <a:lnTo>
                    <a:pt x="160" y="306"/>
                  </a:lnTo>
                  <a:lnTo>
                    <a:pt x="155" y="301"/>
                  </a:lnTo>
                  <a:lnTo>
                    <a:pt x="138" y="292"/>
                  </a:lnTo>
                  <a:lnTo>
                    <a:pt x="133" y="285"/>
                  </a:lnTo>
                  <a:lnTo>
                    <a:pt x="118" y="276"/>
                  </a:lnTo>
                  <a:lnTo>
                    <a:pt x="113" y="275"/>
                  </a:lnTo>
                  <a:lnTo>
                    <a:pt x="96" y="267"/>
                  </a:lnTo>
                  <a:lnTo>
                    <a:pt x="82" y="261"/>
                  </a:lnTo>
                  <a:lnTo>
                    <a:pt x="84" y="261"/>
                  </a:lnTo>
                  <a:lnTo>
                    <a:pt x="87" y="261"/>
                  </a:lnTo>
                  <a:lnTo>
                    <a:pt x="85" y="259"/>
                  </a:lnTo>
                  <a:lnTo>
                    <a:pt x="82" y="259"/>
                  </a:lnTo>
                  <a:lnTo>
                    <a:pt x="82" y="258"/>
                  </a:lnTo>
                  <a:lnTo>
                    <a:pt x="84" y="258"/>
                  </a:lnTo>
                  <a:lnTo>
                    <a:pt x="85" y="256"/>
                  </a:lnTo>
                  <a:lnTo>
                    <a:pt x="73" y="241"/>
                  </a:lnTo>
                  <a:lnTo>
                    <a:pt x="70" y="241"/>
                  </a:lnTo>
                  <a:lnTo>
                    <a:pt x="69" y="243"/>
                  </a:lnTo>
                  <a:lnTo>
                    <a:pt x="67" y="243"/>
                  </a:lnTo>
                  <a:lnTo>
                    <a:pt x="64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5" y="241"/>
                  </a:lnTo>
                  <a:lnTo>
                    <a:pt x="64" y="239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0" y="243"/>
                  </a:lnTo>
                  <a:lnTo>
                    <a:pt x="58" y="239"/>
                  </a:lnTo>
                  <a:lnTo>
                    <a:pt x="54" y="238"/>
                  </a:lnTo>
                  <a:lnTo>
                    <a:pt x="52" y="234"/>
                  </a:lnTo>
                  <a:lnTo>
                    <a:pt x="51" y="233"/>
                  </a:lnTo>
                  <a:lnTo>
                    <a:pt x="43" y="233"/>
                  </a:lnTo>
                  <a:lnTo>
                    <a:pt x="43" y="223"/>
                  </a:lnTo>
                  <a:lnTo>
                    <a:pt x="35" y="213"/>
                  </a:lnTo>
                  <a:lnTo>
                    <a:pt x="31" y="210"/>
                  </a:lnTo>
                  <a:lnTo>
                    <a:pt x="24" y="204"/>
                  </a:lnTo>
                  <a:lnTo>
                    <a:pt x="23" y="199"/>
                  </a:lnTo>
                  <a:lnTo>
                    <a:pt x="22" y="199"/>
                  </a:lnTo>
                  <a:lnTo>
                    <a:pt x="19" y="195"/>
                  </a:lnTo>
                  <a:lnTo>
                    <a:pt x="17" y="190"/>
                  </a:lnTo>
                  <a:lnTo>
                    <a:pt x="9" y="183"/>
                  </a:lnTo>
                  <a:lnTo>
                    <a:pt x="3" y="179"/>
                  </a:lnTo>
                  <a:lnTo>
                    <a:pt x="0" y="172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7" name="Freeform 15"/>
            <p:cNvSpPr>
              <a:spLocks/>
            </p:cNvSpPr>
            <p:nvPr/>
          </p:nvSpPr>
          <p:spPr bwMode="auto">
            <a:xfrm>
              <a:off x="4537075" y="4548188"/>
              <a:ext cx="265113" cy="301625"/>
            </a:xfrm>
            <a:custGeom>
              <a:avLst/>
              <a:gdLst>
                <a:gd name="T0" fmla="*/ 15751205 w 334"/>
                <a:gd name="T1" fmla="*/ 200777994 h 379"/>
                <a:gd name="T2" fmla="*/ 11341121 w 334"/>
                <a:gd name="T3" fmla="*/ 210277988 h 379"/>
                <a:gd name="T4" fmla="*/ 4410083 w 334"/>
                <a:gd name="T5" fmla="*/ 228012583 h 379"/>
                <a:gd name="T6" fmla="*/ 16381443 w 334"/>
                <a:gd name="T7" fmla="*/ 229279567 h 379"/>
                <a:gd name="T8" fmla="*/ 26462087 w 334"/>
                <a:gd name="T9" fmla="*/ 236879881 h 379"/>
                <a:gd name="T10" fmla="*/ 53553620 w 334"/>
                <a:gd name="T11" fmla="*/ 212811956 h 379"/>
                <a:gd name="T12" fmla="*/ 66784663 w 334"/>
                <a:gd name="T13" fmla="*/ 211544972 h 379"/>
                <a:gd name="T14" fmla="*/ 76235069 w 334"/>
                <a:gd name="T15" fmla="*/ 206477831 h 379"/>
                <a:gd name="T16" fmla="*/ 89466112 w 334"/>
                <a:gd name="T17" fmla="*/ 194443869 h 379"/>
                <a:gd name="T18" fmla="*/ 95135879 w 334"/>
                <a:gd name="T19" fmla="*/ 194443869 h 379"/>
                <a:gd name="T20" fmla="*/ 102066917 w 334"/>
                <a:gd name="T21" fmla="*/ 183043399 h 379"/>
                <a:gd name="T22" fmla="*/ 119708045 w 334"/>
                <a:gd name="T23" fmla="*/ 164042616 h 379"/>
                <a:gd name="T24" fmla="*/ 129158450 w 334"/>
                <a:gd name="T25" fmla="*/ 151375162 h 379"/>
                <a:gd name="T26" fmla="*/ 132308850 w 334"/>
                <a:gd name="T27" fmla="*/ 136807232 h 379"/>
                <a:gd name="T28" fmla="*/ 124748367 w 334"/>
                <a:gd name="T29" fmla="*/ 124773269 h 379"/>
                <a:gd name="T30" fmla="*/ 133568533 w 334"/>
                <a:gd name="T31" fmla="*/ 114006292 h 379"/>
                <a:gd name="T32" fmla="*/ 136718933 w 334"/>
                <a:gd name="T33" fmla="*/ 107039470 h 379"/>
                <a:gd name="T34" fmla="*/ 141129016 w 334"/>
                <a:gd name="T35" fmla="*/ 97538681 h 379"/>
                <a:gd name="T36" fmla="*/ 144909655 w 334"/>
                <a:gd name="T37" fmla="*/ 92471540 h 379"/>
                <a:gd name="T38" fmla="*/ 148060054 w 334"/>
                <a:gd name="T39" fmla="*/ 94372016 h 379"/>
                <a:gd name="T40" fmla="*/ 153729821 w 334"/>
                <a:gd name="T41" fmla="*/ 98805665 h 379"/>
                <a:gd name="T42" fmla="*/ 165070943 w 334"/>
                <a:gd name="T43" fmla="*/ 120339621 h 379"/>
                <a:gd name="T44" fmla="*/ 166330626 w 334"/>
                <a:gd name="T45" fmla="*/ 137440724 h 379"/>
                <a:gd name="T46" fmla="*/ 172001187 w 334"/>
                <a:gd name="T47" fmla="*/ 145674529 h 379"/>
                <a:gd name="T48" fmla="*/ 178301986 w 334"/>
                <a:gd name="T49" fmla="*/ 164676108 h 379"/>
                <a:gd name="T50" fmla="*/ 194052397 w 334"/>
                <a:gd name="T51" fmla="*/ 171009437 h 379"/>
                <a:gd name="T52" fmla="*/ 201612880 w 334"/>
                <a:gd name="T53" fmla="*/ 158975475 h 379"/>
                <a:gd name="T54" fmla="*/ 205393519 w 334"/>
                <a:gd name="T55" fmla="*/ 126673746 h 379"/>
                <a:gd name="T56" fmla="*/ 204133041 w 334"/>
                <a:gd name="T57" fmla="*/ 97538681 h 379"/>
                <a:gd name="T58" fmla="*/ 207913680 w 334"/>
                <a:gd name="T59" fmla="*/ 76637421 h 379"/>
                <a:gd name="T60" fmla="*/ 207913680 w 334"/>
                <a:gd name="T61" fmla="*/ 62070287 h 379"/>
                <a:gd name="T62" fmla="*/ 190902791 w 334"/>
                <a:gd name="T63" fmla="*/ 50036325 h 379"/>
                <a:gd name="T64" fmla="*/ 171370948 w 334"/>
                <a:gd name="T65" fmla="*/ 53836481 h 379"/>
                <a:gd name="T66" fmla="*/ 162550782 w 334"/>
                <a:gd name="T67" fmla="*/ 27868081 h 379"/>
                <a:gd name="T68" fmla="*/ 141129016 w 334"/>
                <a:gd name="T69" fmla="*/ 33568714 h 379"/>
                <a:gd name="T70" fmla="*/ 117818122 w 334"/>
                <a:gd name="T71" fmla="*/ 44969184 h 379"/>
                <a:gd name="T72" fmla="*/ 113407245 w 334"/>
                <a:gd name="T73" fmla="*/ 29768557 h 379"/>
                <a:gd name="T74" fmla="*/ 94506434 w 334"/>
                <a:gd name="T75" fmla="*/ 8233805 h 379"/>
                <a:gd name="T76" fmla="*/ 68674586 w 334"/>
                <a:gd name="T77" fmla="*/ 25334908 h 379"/>
                <a:gd name="T78" fmla="*/ 68044347 w 334"/>
                <a:gd name="T79" fmla="*/ 29768557 h 379"/>
                <a:gd name="T80" fmla="*/ 61114103 w 334"/>
                <a:gd name="T81" fmla="*/ 41169027 h 379"/>
                <a:gd name="T82" fmla="*/ 46623375 w 334"/>
                <a:gd name="T83" fmla="*/ 49402832 h 379"/>
                <a:gd name="T84" fmla="*/ 50403220 w 334"/>
                <a:gd name="T85" fmla="*/ 60803302 h 379"/>
                <a:gd name="T86" fmla="*/ 47883059 w 334"/>
                <a:gd name="T87" fmla="*/ 69037108 h 379"/>
                <a:gd name="T88" fmla="*/ 41583053 w 334"/>
                <a:gd name="T89" fmla="*/ 87405195 h 379"/>
                <a:gd name="T90" fmla="*/ 34652015 w 334"/>
                <a:gd name="T91" fmla="*/ 92471540 h 379"/>
                <a:gd name="T92" fmla="*/ 37802415 w 334"/>
                <a:gd name="T93" fmla="*/ 105138994 h 379"/>
                <a:gd name="T94" fmla="*/ 42842737 w 334"/>
                <a:gd name="T95" fmla="*/ 122240097 h 379"/>
                <a:gd name="T96" fmla="*/ 31502409 w 334"/>
                <a:gd name="T97" fmla="*/ 127940730 h 379"/>
                <a:gd name="T98" fmla="*/ 20791527 w 334"/>
                <a:gd name="T99" fmla="*/ 148841194 h 379"/>
                <a:gd name="T100" fmla="*/ 13231044 w 334"/>
                <a:gd name="T101" fmla="*/ 165942297 h 379"/>
                <a:gd name="T102" fmla="*/ 630239 w 334"/>
                <a:gd name="T103" fmla="*/ 183043399 h 37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4"/>
                <a:gd name="T157" fmla="*/ 0 h 379"/>
                <a:gd name="T158" fmla="*/ 334 w 334"/>
                <a:gd name="T159" fmla="*/ 379 h 37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4" h="379">
                  <a:moveTo>
                    <a:pt x="0" y="295"/>
                  </a:moveTo>
                  <a:lnTo>
                    <a:pt x="4" y="306"/>
                  </a:lnTo>
                  <a:lnTo>
                    <a:pt x="6" y="310"/>
                  </a:lnTo>
                  <a:lnTo>
                    <a:pt x="21" y="314"/>
                  </a:lnTo>
                  <a:lnTo>
                    <a:pt x="25" y="317"/>
                  </a:lnTo>
                  <a:lnTo>
                    <a:pt x="25" y="320"/>
                  </a:lnTo>
                  <a:lnTo>
                    <a:pt x="24" y="322"/>
                  </a:lnTo>
                  <a:lnTo>
                    <a:pt x="22" y="324"/>
                  </a:lnTo>
                  <a:lnTo>
                    <a:pt x="19" y="329"/>
                  </a:lnTo>
                  <a:lnTo>
                    <a:pt x="18" y="332"/>
                  </a:lnTo>
                  <a:lnTo>
                    <a:pt x="18" y="342"/>
                  </a:lnTo>
                  <a:lnTo>
                    <a:pt x="16" y="350"/>
                  </a:lnTo>
                  <a:lnTo>
                    <a:pt x="14" y="354"/>
                  </a:lnTo>
                  <a:lnTo>
                    <a:pt x="10" y="358"/>
                  </a:lnTo>
                  <a:lnTo>
                    <a:pt x="7" y="360"/>
                  </a:lnTo>
                  <a:lnTo>
                    <a:pt x="7" y="362"/>
                  </a:lnTo>
                  <a:lnTo>
                    <a:pt x="9" y="365"/>
                  </a:lnTo>
                  <a:lnTo>
                    <a:pt x="13" y="365"/>
                  </a:lnTo>
                  <a:lnTo>
                    <a:pt x="16" y="361"/>
                  </a:lnTo>
                  <a:lnTo>
                    <a:pt x="26" y="362"/>
                  </a:lnTo>
                  <a:lnTo>
                    <a:pt x="28" y="365"/>
                  </a:lnTo>
                  <a:lnTo>
                    <a:pt x="27" y="368"/>
                  </a:lnTo>
                  <a:lnTo>
                    <a:pt x="27" y="379"/>
                  </a:lnTo>
                  <a:lnTo>
                    <a:pt x="39" y="379"/>
                  </a:lnTo>
                  <a:lnTo>
                    <a:pt x="42" y="374"/>
                  </a:lnTo>
                  <a:lnTo>
                    <a:pt x="56" y="361"/>
                  </a:lnTo>
                  <a:lnTo>
                    <a:pt x="63" y="344"/>
                  </a:lnTo>
                  <a:lnTo>
                    <a:pt x="79" y="342"/>
                  </a:lnTo>
                  <a:lnTo>
                    <a:pt x="82" y="337"/>
                  </a:lnTo>
                  <a:lnTo>
                    <a:pt x="85" y="336"/>
                  </a:lnTo>
                  <a:lnTo>
                    <a:pt x="92" y="340"/>
                  </a:lnTo>
                  <a:lnTo>
                    <a:pt x="93" y="337"/>
                  </a:lnTo>
                  <a:lnTo>
                    <a:pt x="99" y="334"/>
                  </a:lnTo>
                  <a:lnTo>
                    <a:pt x="104" y="335"/>
                  </a:lnTo>
                  <a:lnTo>
                    <a:pt x="106" y="334"/>
                  </a:lnTo>
                  <a:lnTo>
                    <a:pt x="110" y="332"/>
                  </a:lnTo>
                  <a:lnTo>
                    <a:pt x="114" y="334"/>
                  </a:lnTo>
                  <a:lnTo>
                    <a:pt x="115" y="330"/>
                  </a:lnTo>
                  <a:lnTo>
                    <a:pt x="115" y="328"/>
                  </a:lnTo>
                  <a:lnTo>
                    <a:pt x="121" y="326"/>
                  </a:lnTo>
                  <a:lnTo>
                    <a:pt x="123" y="328"/>
                  </a:lnTo>
                  <a:lnTo>
                    <a:pt x="132" y="314"/>
                  </a:lnTo>
                  <a:lnTo>
                    <a:pt x="134" y="311"/>
                  </a:lnTo>
                  <a:lnTo>
                    <a:pt x="138" y="307"/>
                  </a:lnTo>
                  <a:lnTo>
                    <a:pt x="142" y="307"/>
                  </a:lnTo>
                  <a:lnTo>
                    <a:pt x="138" y="300"/>
                  </a:lnTo>
                  <a:lnTo>
                    <a:pt x="142" y="298"/>
                  </a:lnTo>
                  <a:lnTo>
                    <a:pt x="146" y="302"/>
                  </a:lnTo>
                  <a:lnTo>
                    <a:pt x="150" y="305"/>
                  </a:lnTo>
                  <a:lnTo>
                    <a:pt x="151" y="307"/>
                  </a:lnTo>
                  <a:lnTo>
                    <a:pt x="154" y="304"/>
                  </a:lnTo>
                  <a:lnTo>
                    <a:pt x="157" y="302"/>
                  </a:lnTo>
                  <a:lnTo>
                    <a:pt x="160" y="296"/>
                  </a:lnTo>
                  <a:lnTo>
                    <a:pt x="163" y="292"/>
                  </a:lnTo>
                  <a:lnTo>
                    <a:pt x="162" y="289"/>
                  </a:lnTo>
                  <a:lnTo>
                    <a:pt x="174" y="276"/>
                  </a:lnTo>
                  <a:lnTo>
                    <a:pt x="175" y="274"/>
                  </a:lnTo>
                  <a:lnTo>
                    <a:pt x="177" y="270"/>
                  </a:lnTo>
                  <a:lnTo>
                    <a:pt x="186" y="265"/>
                  </a:lnTo>
                  <a:lnTo>
                    <a:pt x="190" y="259"/>
                  </a:lnTo>
                  <a:lnTo>
                    <a:pt x="195" y="257"/>
                  </a:lnTo>
                  <a:lnTo>
                    <a:pt x="198" y="253"/>
                  </a:lnTo>
                  <a:lnTo>
                    <a:pt x="198" y="248"/>
                  </a:lnTo>
                  <a:lnTo>
                    <a:pt x="202" y="240"/>
                  </a:lnTo>
                  <a:lnTo>
                    <a:pt x="205" y="239"/>
                  </a:lnTo>
                  <a:lnTo>
                    <a:pt x="210" y="230"/>
                  </a:lnTo>
                  <a:lnTo>
                    <a:pt x="208" y="226"/>
                  </a:lnTo>
                  <a:lnTo>
                    <a:pt x="208" y="223"/>
                  </a:lnTo>
                  <a:lnTo>
                    <a:pt x="208" y="218"/>
                  </a:lnTo>
                  <a:lnTo>
                    <a:pt x="210" y="216"/>
                  </a:lnTo>
                  <a:lnTo>
                    <a:pt x="208" y="214"/>
                  </a:lnTo>
                  <a:lnTo>
                    <a:pt x="206" y="214"/>
                  </a:lnTo>
                  <a:lnTo>
                    <a:pt x="201" y="211"/>
                  </a:lnTo>
                  <a:lnTo>
                    <a:pt x="199" y="205"/>
                  </a:lnTo>
                  <a:lnTo>
                    <a:pt x="198" y="197"/>
                  </a:lnTo>
                  <a:lnTo>
                    <a:pt x="201" y="193"/>
                  </a:lnTo>
                  <a:lnTo>
                    <a:pt x="202" y="191"/>
                  </a:lnTo>
                  <a:lnTo>
                    <a:pt x="201" y="187"/>
                  </a:lnTo>
                  <a:lnTo>
                    <a:pt x="204" y="187"/>
                  </a:lnTo>
                  <a:lnTo>
                    <a:pt x="212" y="180"/>
                  </a:lnTo>
                  <a:lnTo>
                    <a:pt x="213" y="176"/>
                  </a:lnTo>
                  <a:lnTo>
                    <a:pt x="216" y="176"/>
                  </a:lnTo>
                  <a:lnTo>
                    <a:pt x="216" y="174"/>
                  </a:lnTo>
                  <a:lnTo>
                    <a:pt x="218" y="172"/>
                  </a:lnTo>
                  <a:lnTo>
                    <a:pt x="217" y="169"/>
                  </a:lnTo>
                  <a:lnTo>
                    <a:pt x="219" y="167"/>
                  </a:lnTo>
                  <a:lnTo>
                    <a:pt x="219" y="164"/>
                  </a:lnTo>
                  <a:lnTo>
                    <a:pt x="218" y="162"/>
                  </a:lnTo>
                  <a:lnTo>
                    <a:pt x="219" y="156"/>
                  </a:lnTo>
                  <a:lnTo>
                    <a:pt x="224" y="154"/>
                  </a:lnTo>
                  <a:lnTo>
                    <a:pt x="226" y="155"/>
                  </a:lnTo>
                  <a:lnTo>
                    <a:pt x="229" y="154"/>
                  </a:lnTo>
                  <a:lnTo>
                    <a:pt x="229" y="150"/>
                  </a:lnTo>
                  <a:lnTo>
                    <a:pt x="230" y="149"/>
                  </a:lnTo>
                  <a:lnTo>
                    <a:pt x="230" y="146"/>
                  </a:lnTo>
                  <a:lnTo>
                    <a:pt x="234" y="139"/>
                  </a:lnTo>
                  <a:lnTo>
                    <a:pt x="237" y="138"/>
                  </a:lnTo>
                  <a:lnTo>
                    <a:pt x="237" y="143"/>
                  </a:lnTo>
                  <a:lnTo>
                    <a:pt x="236" y="145"/>
                  </a:lnTo>
                  <a:lnTo>
                    <a:pt x="235" y="149"/>
                  </a:lnTo>
                  <a:lnTo>
                    <a:pt x="236" y="151"/>
                  </a:lnTo>
                  <a:lnTo>
                    <a:pt x="238" y="151"/>
                  </a:lnTo>
                  <a:lnTo>
                    <a:pt x="241" y="151"/>
                  </a:lnTo>
                  <a:lnTo>
                    <a:pt x="246" y="152"/>
                  </a:lnTo>
                  <a:lnTo>
                    <a:pt x="244" y="156"/>
                  </a:lnTo>
                  <a:lnTo>
                    <a:pt x="247" y="161"/>
                  </a:lnTo>
                  <a:lnTo>
                    <a:pt x="247" y="169"/>
                  </a:lnTo>
                  <a:lnTo>
                    <a:pt x="247" y="172"/>
                  </a:lnTo>
                  <a:lnTo>
                    <a:pt x="260" y="182"/>
                  </a:lnTo>
                  <a:lnTo>
                    <a:pt x="262" y="190"/>
                  </a:lnTo>
                  <a:lnTo>
                    <a:pt x="264" y="203"/>
                  </a:lnTo>
                  <a:lnTo>
                    <a:pt x="267" y="208"/>
                  </a:lnTo>
                  <a:lnTo>
                    <a:pt x="267" y="210"/>
                  </a:lnTo>
                  <a:lnTo>
                    <a:pt x="262" y="211"/>
                  </a:lnTo>
                  <a:lnTo>
                    <a:pt x="264" y="217"/>
                  </a:lnTo>
                  <a:lnTo>
                    <a:pt x="265" y="221"/>
                  </a:lnTo>
                  <a:lnTo>
                    <a:pt x="266" y="224"/>
                  </a:lnTo>
                  <a:lnTo>
                    <a:pt x="270" y="227"/>
                  </a:lnTo>
                  <a:lnTo>
                    <a:pt x="272" y="229"/>
                  </a:lnTo>
                  <a:lnTo>
                    <a:pt x="273" y="230"/>
                  </a:lnTo>
                  <a:lnTo>
                    <a:pt x="276" y="238"/>
                  </a:lnTo>
                  <a:lnTo>
                    <a:pt x="276" y="240"/>
                  </a:lnTo>
                  <a:lnTo>
                    <a:pt x="279" y="252"/>
                  </a:lnTo>
                  <a:lnTo>
                    <a:pt x="283" y="257"/>
                  </a:lnTo>
                  <a:lnTo>
                    <a:pt x="283" y="260"/>
                  </a:lnTo>
                  <a:lnTo>
                    <a:pt x="285" y="268"/>
                  </a:lnTo>
                  <a:lnTo>
                    <a:pt x="295" y="270"/>
                  </a:lnTo>
                  <a:lnTo>
                    <a:pt x="300" y="270"/>
                  </a:lnTo>
                  <a:lnTo>
                    <a:pt x="303" y="270"/>
                  </a:lnTo>
                  <a:lnTo>
                    <a:pt x="308" y="270"/>
                  </a:lnTo>
                  <a:lnTo>
                    <a:pt x="312" y="270"/>
                  </a:lnTo>
                  <a:lnTo>
                    <a:pt x="313" y="268"/>
                  </a:lnTo>
                  <a:lnTo>
                    <a:pt x="316" y="262"/>
                  </a:lnTo>
                  <a:lnTo>
                    <a:pt x="320" y="257"/>
                  </a:lnTo>
                  <a:lnTo>
                    <a:pt x="320" y="251"/>
                  </a:lnTo>
                  <a:lnTo>
                    <a:pt x="322" y="239"/>
                  </a:lnTo>
                  <a:lnTo>
                    <a:pt x="320" y="222"/>
                  </a:lnTo>
                  <a:lnTo>
                    <a:pt x="322" y="214"/>
                  </a:lnTo>
                  <a:lnTo>
                    <a:pt x="325" y="211"/>
                  </a:lnTo>
                  <a:lnTo>
                    <a:pt x="326" y="200"/>
                  </a:lnTo>
                  <a:lnTo>
                    <a:pt x="324" y="192"/>
                  </a:lnTo>
                  <a:lnTo>
                    <a:pt x="325" y="182"/>
                  </a:lnTo>
                  <a:lnTo>
                    <a:pt x="324" y="170"/>
                  </a:lnTo>
                  <a:lnTo>
                    <a:pt x="324" y="156"/>
                  </a:lnTo>
                  <a:lnTo>
                    <a:pt x="324" y="154"/>
                  </a:lnTo>
                  <a:lnTo>
                    <a:pt x="318" y="146"/>
                  </a:lnTo>
                  <a:lnTo>
                    <a:pt x="318" y="137"/>
                  </a:lnTo>
                  <a:lnTo>
                    <a:pt x="315" y="136"/>
                  </a:lnTo>
                  <a:lnTo>
                    <a:pt x="309" y="132"/>
                  </a:lnTo>
                  <a:lnTo>
                    <a:pt x="330" y="121"/>
                  </a:lnTo>
                  <a:lnTo>
                    <a:pt x="334" y="114"/>
                  </a:lnTo>
                  <a:lnTo>
                    <a:pt x="333" y="108"/>
                  </a:lnTo>
                  <a:lnTo>
                    <a:pt x="333" y="106"/>
                  </a:lnTo>
                  <a:lnTo>
                    <a:pt x="332" y="104"/>
                  </a:lnTo>
                  <a:lnTo>
                    <a:pt x="330" y="98"/>
                  </a:lnTo>
                  <a:lnTo>
                    <a:pt x="327" y="96"/>
                  </a:lnTo>
                  <a:lnTo>
                    <a:pt x="325" y="85"/>
                  </a:lnTo>
                  <a:lnTo>
                    <a:pt x="322" y="82"/>
                  </a:lnTo>
                  <a:lnTo>
                    <a:pt x="318" y="79"/>
                  </a:lnTo>
                  <a:lnTo>
                    <a:pt x="303" y="79"/>
                  </a:lnTo>
                  <a:lnTo>
                    <a:pt x="297" y="78"/>
                  </a:lnTo>
                  <a:lnTo>
                    <a:pt x="284" y="77"/>
                  </a:lnTo>
                  <a:lnTo>
                    <a:pt x="282" y="76"/>
                  </a:lnTo>
                  <a:lnTo>
                    <a:pt x="280" y="80"/>
                  </a:lnTo>
                  <a:lnTo>
                    <a:pt x="272" y="85"/>
                  </a:lnTo>
                  <a:lnTo>
                    <a:pt x="262" y="85"/>
                  </a:lnTo>
                  <a:lnTo>
                    <a:pt x="262" y="80"/>
                  </a:lnTo>
                  <a:lnTo>
                    <a:pt x="267" y="61"/>
                  </a:lnTo>
                  <a:lnTo>
                    <a:pt x="262" y="46"/>
                  </a:lnTo>
                  <a:lnTo>
                    <a:pt x="258" y="44"/>
                  </a:lnTo>
                  <a:lnTo>
                    <a:pt x="250" y="43"/>
                  </a:lnTo>
                  <a:lnTo>
                    <a:pt x="247" y="44"/>
                  </a:lnTo>
                  <a:lnTo>
                    <a:pt x="240" y="46"/>
                  </a:lnTo>
                  <a:lnTo>
                    <a:pt x="232" y="49"/>
                  </a:lnTo>
                  <a:lnTo>
                    <a:pt x="224" y="53"/>
                  </a:lnTo>
                  <a:lnTo>
                    <a:pt x="217" y="71"/>
                  </a:lnTo>
                  <a:lnTo>
                    <a:pt x="211" y="73"/>
                  </a:lnTo>
                  <a:lnTo>
                    <a:pt x="206" y="73"/>
                  </a:lnTo>
                  <a:lnTo>
                    <a:pt x="201" y="73"/>
                  </a:lnTo>
                  <a:lnTo>
                    <a:pt x="187" y="71"/>
                  </a:lnTo>
                  <a:lnTo>
                    <a:pt x="187" y="65"/>
                  </a:lnTo>
                  <a:lnTo>
                    <a:pt x="184" y="61"/>
                  </a:lnTo>
                  <a:lnTo>
                    <a:pt x="183" y="55"/>
                  </a:lnTo>
                  <a:lnTo>
                    <a:pt x="180" y="54"/>
                  </a:lnTo>
                  <a:lnTo>
                    <a:pt x="180" y="47"/>
                  </a:lnTo>
                  <a:lnTo>
                    <a:pt x="176" y="41"/>
                  </a:lnTo>
                  <a:lnTo>
                    <a:pt x="169" y="12"/>
                  </a:lnTo>
                  <a:lnTo>
                    <a:pt x="166" y="8"/>
                  </a:lnTo>
                  <a:lnTo>
                    <a:pt x="156" y="13"/>
                  </a:lnTo>
                  <a:lnTo>
                    <a:pt x="150" y="13"/>
                  </a:lnTo>
                  <a:lnTo>
                    <a:pt x="138" y="10"/>
                  </a:lnTo>
                  <a:lnTo>
                    <a:pt x="127" y="2"/>
                  </a:lnTo>
                  <a:lnTo>
                    <a:pt x="118" y="4"/>
                  </a:lnTo>
                  <a:lnTo>
                    <a:pt x="115" y="0"/>
                  </a:lnTo>
                  <a:lnTo>
                    <a:pt x="109" y="40"/>
                  </a:lnTo>
                  <a:lnTo>
                    <a:pt x="106" y="38"/>
                  </a:lnTo>
                  <a:lnTo>
                    <a:pt x="103" y="32"/>
                  </a:lnTo>
                  <a:lnTo>
                    <a:pt x="100" y="31"/>
                  </a:lnTo>
                  <a:lnTo>
                    <a:pt x="104" y="46"/>
                  </a:lnTo>
                  <a:lnTo>
                    <a:pt x="108" y="47"/>
                  </a:lnTo>
                  <a:lnTo>
                    <a:pt x="106" y="53"/>
                  </a:lnTo>
                  <a:lnTo>
                    <a:pt x="103" y="62"/>
                  </a:lnTo>
                  <a:lnTo>
                    <a:pt x="103" y="68"/>
                  </a:lnTo>
                  <a:lnTo>
                    <a:pt x="99" y="66"/>
                  </a:lnTo>
                  <a:lnTo>
                    <a:pt x="97" y="65"/>
                  </a:lnTo>
                  <a:lnTo>
                    <a:pt x="90" y="78"/>
                  </a:lnTo>
                  <a:lnTo>
                    <a:pt x="86" y="79"/>
                  </a:lnTo>
                  <a:lnTo>
                    <a:pt x="81" y="78"/>
                  </a:lnTo>
                  <a:lnTo>
                    <a:pt x="79" y="76"/>
                  </a:lnTo>
                  <a:lnTo>
                    <a:pt x="74" y="78"/>
                  </a:lnTo>
                  <a:lnTo>
                    <a:pt x="73" y="83"/>
                  </a:lnTo>
                  <a:lnTo>
                    <a:pt x="75" y="82"/>
                  </a:lnTo>
                  <a:lnTo>
                    <a:pt x="76" y="94"/>
                  </a:lnTo>
                  <a:lnTo>
                    <a:pt x="79" y="92"/>
                  </a:lnTo>
                  <a:lnTo>
                    <a:pt x="80" y="96"/>
                  </a:lnTo>
                  <a:lnTo>
                    <a:pt x="82" y="97"/>
                  </a:lnTo>
                  <a:lnTo>
                    <a:pt x="82" y="103"/>
                  </a:lnTo>
                  <a:lnTo>
                    <a:pt x="81" y="104"/>
                  </a:lnTo>
                  <a:lnTo>
                    <a:pt x="79" y="109"/>
                  </a:lnTo>
                  <a:lnTo>
                    <a:pt x="76" y="109"/>
                  </a:lnTo>
                  <a:lnTo>
                    <a:pt x="74" y="112"/>
                  </a:lnTo>
                  <a:lnTo>
                    <a:pt x="73" y="126"/>
                  </a:lnTo>
                  <a:lnTo>
                    <a:pt x="75" y="130"/>
                  </a:lnTo>
                  <a:lnTo>
                    <a:pt x="74" y="132"/>
                  </a:lnTo>
                  <a:lnTo>
                    <a:pt x="66" y="138"/>
                  </a:lnTo>
                  <a:lnTo>
                    <a:pt x="63" y="137"/>
                  </a:lnTo>
                  <a:lnTo>
                    <a:pt x="60" y="138"/>
                  </a:lnTo>
                  <a:lnTo>
                    <a:pt x="56" y="137"/>
                  </a:lnTo>
                  <a:lnTo>
                    <a:pt x="52" y="139"/>
                  </a:lnTo>
                  <a:lnTo>
                    <a:pt x="55" y="146"/>
                  </a:lnTo>
                  <a:lnTo>
                    <a:pt x="57" y="150"/>
                  </a:lnTo>
                  <a:lnTo>
                    <a:pt x="60" y="150"/>
                  </a:lnTo>
                  <a:lnTo>
                    <a:pt x="60" y="160"/>
                  </a:lnTo>
                  <a:lnTo>
                    <a:pt x="56" y="163"/>
                  </a:lnTo>
                  <a:lnTo>
                    <a:pt x="60" y="166"/>
                  </a:lnTo>
                  <a:lnTo>
                    <a:pt x="63" y="173"/>
                  </a:lnTo>
                  <a:lnTo>
                    <a:pt x="62" y="175"/>
                  </a:lnTo>
                  <a:lnTo>
                    <a:pt x="63" y="178"/>
                  </a:lnTo>
                  <a:lnTo>
                    <a:pt x="66" y="181"/>
                  </a:lnTo>
                  <a:lnTo>
                    <a:pt x="68" y="193"/>
                  </a:lnTo>
                  <a:lnTo>
                    <a:pt x="62" y="194"/>
                  </a:lnTo>
                  <a:lnTo>
                    <a:pt x="60" y="197"/>
                  </a:lnTo>
                  <a:lnTo>
                    <a:pt x="52" y="196"/>
                  </a:lnTo>
                  <a:lnTo>
                    <a:pt x="49" y="198"/>
                  </a:lnTo>
                  <a:lnTo>
                    <a:pt x="50" y="202"/>
                  </a:lnTo>
                  <a:lnTo>
                    <a:pt x="46" y="206"/>
                  </a:lnTo>
                  <a:lnTo>
                    <a:pt x="43" y="208"/>
                  </a:lnTo>
                  <a:lnTo>
                    <a:pt x="42" y="227"/>
                  </a:lnTo>
                  <a:lnTo>
                    <a:pt x="36" y="233"/>
                  </a:lnTo>
                  <a:lnTo>
                    <a:pt x="33" y="235"/>
                  </a:lnTo>
                  <a:lnTo>
                    <a:pt x="37" y="240"/>
                  </a:lnTo>
                  <a:lnTo>
                    <a:pt x="34" y="242"/>
                  </a:lnTo>
                  <a:lnTo>
                    <a:pt x="32" y="244"/>
                  </a:lnTo>
                  <a:lnTo>
                    <a:pt x="28" y="248"/>
                  </a:lnTo>
                  <a:lnTo>
                    <a:pt x="21" y="262"/>
                  </a:lnTo>
                  <a:lnTo>
                    <a:pt x="7" y="275"/>
                  </a:lnTo>
                  <a:lnTo>
                    <a:pt x="6" y="281"/>
                  </a:lnTo>
                  <a:lnTo>
                    <a:pt x="3" y="283"/>
                  </a:lnTo>
                  <a:lnTo>
                    <a:pt x="2" y="287"/>
                  </a:lnTo>
                  <a:lnTo>
                    <a:pt x="1" y="289"/>
                  </a:lnTo>
                  <a:lnTo>
                    <a:pt x="0" y="295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8" name="Freeform 16"/>
            <p:cNvSpPr>
              <a:spLocks/>
            </p:cNvSpPr>
            <p:nvPr/>
          </p:nvSpPr>
          <p:spPr bwMode="auto">
            <a:xfrm>
              <a:off x="4005263" y="4514850"/>
              <a:ext cx="617537" cy="406400"/>
            </a:xfrm>
            <a:custGeom>
              <a:avLst/>
              <a:gdLst>
                <a:gd name="T0" fmla="*/ 19530997 w 778"/>
                <a:gd name="T1" fmla="*/ 249495469 h 512"/>
                <a:gd name="T2" fmla="*/ 41582148 w 778"/>
                <a:gd name="T3" fmla="*/ 272176875 h 512"/>
                <a:gd name="T4" fmla="*/ 61743381 w 778"/>
                <a:gd name="T5" fmla="*/ 279737344 h 512"/>
                <a:gd name="T6" fmla="*/ 90725552 w 778"/>
                <a:gd name="T7" fmla="*/ 289817969 h 512"/>
                <a:gd name="T8" fmla="*/ 121597639 w 778"/>
                <a:gd name="T9" fmla="*/ 303048988 h 512"/>
                <a:gd name="T10" fmla="*/ 173260403 w 778"/>
                <a:gd name="T11" fmla="*/ 316280006 h 512"/>
                <a:gd name="T12" fmla="*/ 202872017 w 778"/>
                <a:gd name="T13" fmla="*/ 313129613 h 512"/>
                <a:gd name="T14" fmla="*/ 225553405 w 778"/>
                <a:gd name="T15" fmla="*/ 321320319 h 512"/>
                <a:gd name="T16" fmla="*/ 240674330 w 778"/>
                <a:gd name="T17" fmla="*/ 287297813 h 512"/>
                <a:gd name="T18" fmla="*/ 257055729 w 778"/>
                <a:gd name="T19" fmla="*/ 275957506 h 512"/>
                <a:gd name="T20" fmla="*/ 274696809 w 778"/>
                <a:gd name="T21" fmla="*/ 239414844 h 512"/>
                <a:gd name="T22" fmla="*/ 298637877 w 778"/>
                <a:gd name="T23" fmla="*/ 256425700 h 512"/>
                <a:gd name="T24" fmla="*/ 322579739 w 778"/>
                <a:gd name="T25" fmla="*/ 254535781 h 512"/>
                <a:gd name="T26" fmla="*/ 369832432 w 778"/>
                <a:gd name="T27" fmla="*/ 261466013 h 512"/>
                <a:gd name="T28" fmla="*/ 386213037 w 778"/>
                <a:gd name="T29" fmla="*/ 268397038 h 512"/>
                <a:gd name="T30" fmla="*/ 405744828 w 778"/>
                <a:gd name="T31" fmla="*/ 273437350 h 512"/>
                <a:gd name="T32" fmla="*/ 394403737 w 778"/>
                <a:gd name="T33" fmla="*/ 240675319 h 512"/>
                <a:gd name="T34" fmla="*/ 390623902 w 778"/>
                <a:gd name="T35" fmla="*/ 227444300 h 512"/>
                <a:gd name="T36" fmla="*/ 398184365 w 778"/>
                <a:gd name="T37" fmla="*/ 215473756 h 512"/>
                <a:gd name="T38" fmla="*/ 407634745 w 778"/>
                <a:gd name="T39" fmla="*/ 214213281 h 512"/>
                <a:gd name="T40" fmla="*/ 424015350 w 778"/>
                <a:gd name="T41" fmla="*/ 204762894 h 512"/>
                <a:gd name="T42" fmla="*/ 445437058 w 778"/>
                <a:gd name="T43" fmla="*/ 177671413 h 512"/>
                <a:gd name="T44" fmla="*/ 452997521 w 778"/>
                <a:gd name="T45" fmla="*/ 151209375 h 512"/>
                <a:gd name="T46" fmla="*/ 461188220 w 778"/>
                <a:gd name="T47" fmla="*/ 136718675 h 512"/>
                <a:gd name="T48" fmla="*/ 456777355 w 778"/>
                <a:gd name="T49" fmla="*/ 118447344 h 512"/>
                <a:gd name="T50" fmla="*/ 469378126 w 778"/>
                <a:gd name="T51" fmla="*/ 108366719 h 512"/>
                <a:gd name="T52" fmla="*/ 473788991 w 778"/>
                <a:gd name="T53" fmla="*/ 87575231 h 512"/>
                <a:gd name="T54" fmla="*/ 471898280 w 778"/>
                <a:gd name="T55" fmla="*/ 74345006 h 512"/>
                <a:gd name="T56" fmla="*/ 487019206 w 778"/>
                <a:gd name="T57" fmla="*/ 65524063 h 512"/>
                <a:gd name="T58" fmla="*/ 441656430 w 778"/>
                <a:gd name="T59" fmla="*/ 45362813 h 512"/>
                <a:gd name="T60" fmla="*/ 423385907 w 778"/>
                <a:gd name="T61" fmla="*/ 70564375 h 512"/>
                <a:gd name="T62" fmla="*/ 391883583 w 778"/>
                <a:gd name="T63" fmla="*/ 72454294 h 512"/>
                <a:gd name="T64" fmla="*/ 365422360 w 778"/>
                <a:gd name="T65" fmla="*/ 71824850 h 512"/>
                <a:gd name="T66" fmla="*/ 359751815 w 778"/>
                <a:gd name="T67" fmla="*/ 51663600 h 512"/>
                <a:gd name="T68" fmla="*/ 332660356 w 778"/>
                <a:gd name="T69" fmla="*/ 56703913 h 512"/>
                <a:gd name="T70" fmla="*/ 317539430 w 778"/>
                <a:gd name="T71" fmla="*/ 56703913 h 512"/>
                <a:gd name="T72" fmla="*/ 292337888 w 778"/>
                <a:gd name="T73" fmla="*/ 13861256 h 512"/>
                <a:gd name="T74" fmla="*/ 275956489 w 778"/>
                <a:gd name="T75" fmla="*/ 27721719 h 512"/>
                <a:gd name="T76" fmla="*/ 250124710 w 778"/>
                <a:gd name="T77" fmla="*/ 15751175 h 512"/>
                <a:gd name="T78" fmla="*/ 235004578 w 778"/>
                <a:gd name="T79" fmla="*/ 0 h 512"/>
                <a:gd name="T80" fmla="*/ 190271246 w 778"/>
                <a:gd name="T81" fmla="*/ 10080625 h 512"/>
                <a:gd name="T82" fmla="*/ 159399952 w 778"/>
                <a:gd name="T83" fmla="*/ 15751175 h 512"/>
                <a:gd name="T84" fmla="*/ 138608482 w 778"/>
                <a:gd name="T85" fmla="*/ 26462038 h 512"/>
                <a:gd name="T86" fmla="*/ 123487556 w 778"/>
                <a:gd name="T87" fmla="*/ 19531013 h 512"/>
                <a:gd name="T88" fmla="*/ 117186774 w 778"/>
                <a:gd name="T89" fmla="*/ 23941881 h 512"/>
                <a:gd name="T90" fmla="*/ 112146465 w 778"/>
                <a:gd name="T91" fmla="*/ 53553519 h 512"/>
                <a:gd name="T92" fmla="*/ 143018553 w 778"/>
                <a:gd name="T93" fmla="*/ 59224069 h 512"/>
                <a:gd name="T94" fmla="*/ 142388316 w 778"/>
                <a:gd name="T95" fmla="*/ 86945788 h 512"/>
                <a:gd name="T96" fmla="*/ 149948779 w 778"/>
                <a:gd name="T97" fmla="*/ 113407031 h 512"/>
                <a:gd name="T98" fmla="*/ 171370486 w 778"/>
                <a:gd name="T99" fmla="*/ 114037269 h 512"/>
                <a:gd name="T100" fmla="*/ 163810024 w 778"/>
                <a:gd name="T101" fmla="*/ 129788444 h 512"/>
                <a:gd name="T102" fmla="*/ 152468933 w 778"/>
                <a:gd name="T103" fmla="*/ 144279144 h 512"/>
                <a:gd name="T104" fmla="*/ 120967402 w 778"/>
                <a:gd name="T105" fmla="*/ 158139606 h 512"/>
                <a:gd name="T106" fmla="*/ 93245706 w 778"/>
                <a:gd name="T107" fmla="*/ 176410938 h 512"/>
                <a:gd name="T108" fmla="*/ 61743381 w 778"/>
                <a:gd name="T109" fmla="*/ 178300856 h 512"/>
                <a:gd name="T110" fmla="*/ 42212385 w 778"/>
                <a:gd name="T111" fmla="*/ 183971406 h 512"/>
                <a:gd name="T112" fmla="*/ 37172076 w 778"/>
                <a:gd name="T113" fmla="*/ 189011719 h 512"/>
                <a:gd name="T114" fmla="*/ 3150391 w 778"/>
                <a:gd name="T115" fmla="*/ 226814063 h 51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78"/>
                <a:gd name="T175" fmla="*/ 0 h 512"/>
                <a:gd name="T176" fmla="*/ 778 w 778"/>
                <a:gd name="T177" fmla="*/ 512 h 51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78" h="512">
                  <a:moveTo>
                    <a:pt x="0" y="366"/>
                  </a:moveTo>
                  <a:lnTo>
                    <a:pt x="0" y="367"/>
                  </a:lnTo>
                  <a:lnTo>
                    <a:pt x="5" y="367"/>
                  </a:lnTo>
                  <a:lnTo>
                    <a:pt x="12" y="374"/>
                  </a:lnTo>
                  <a:lnTo>
                    <a:pt x="22" y="380"/>
                  </a:lnTo>
                  <a:lnTo>
                    <a:pt x="26" y="386"/>
                  </a:lnTo>
                  <a:lnTo>
                    <a:pt x="31" y="396"/>
                  </a:lnTo>
                  <a:lnTo>
                    <a:pt x="34" y="400"/>
                  </a:lnTo>
                  <a:lnTo>
                    <a:pt x="37" y="407"/>
                  </a:lnTo>
                  <a:lnTo>
                    <a:pt x="40" y="418"/>
                  </a:lnTo>
                  <a:lnTo>
                    <a:pt x="44" y="422"/>
                  </a:lnTo>
                  <a:lnTo>
                    <a:pt x="48" y="424"/>
                  </a:lnTo>
                  <a:lnTo>
                    <a:pt x="64" y="432"/>
                  </a:lnTo>
                  <a:lnTo>
                    <a:pt x="66" y="432"/>
                  </a:lnTo>
                  <a:lnTo>
                    <a:pt x="66" y="433"/>
                  </a:lnTo>
                  <a:lnTo>
                    <a:pt x="70" y="436"/>
                  </a:lnTo>
                  <a:lnTo>
                    <a:pt x="73" y="434"/>
                  </a:lnTo>
                  <a:lnTo>
                    <a:pt x="79" y="436"/>
                  </a:lnTo>
                  <a:lnTo>
                    <a:pt x="89" y="442"/>
                  </a:lnTo>
                  <a:lnTo>
                    <a:pt x="98" y="443"/>
                  </a:lnTo>
                  <a:lnTo>
                    <a:pt x="98" y="444"/>
                  </a:lnTo>
                  <a:lnTo>
                    <a:pt x="103" y="445"/>
                  </a:lnTo>
                  <a:lnTo>
                    <a:pt x="109" y="449"/>
                  </a:lnTo>
                  <a:lnTo>
                    <a:pt x="116" y="449"/>
                  </a:lnTo>
                  <a:lnTo>
                    <a:pt x="116" y="450"/>
                  </a:lnTo>
                  <a:lnTo>
                    <a:pt x="120" y="450"/>
                  </a:lnTo>
                  <a:lnTo>
                    <a:pt x="132" y="454"/>
                  </a:lnTo>
                  <a:lnTo>
                    <a:pt x="144" y="460"/>
                  </a:lnTo>
                  <a:lnTo>
                    <a:pt x="146" y="461"/>
                  </a:lnTo>
                  <a:lnTo>
                    <a:pt x="158" y="467"/>
                  </a:lnTo>
                  <a:lnTo>
                    <a:pt x="164" y="470"/>
                  </a:lnTo>
                  <a:lnTo>
                    <a:pt x="172" y="473"/>
                  </a:lnTo>
                  <a:lnTo>
                    <a:pt x="175" y="475"/>
                  </a:lnTo>
                  <a:lnTo>
                    <a:pt x="190" y="479"/>
                  </a:lnTo>
                  <a:lnTo>
                    <a:pt x="193" y="481"/>
                  </a:lnTo>
                  <a:lnTo>
                    <a:pt x="202" y="482"/>
                  </a:lnTo>
                  <a:lnTo>
                    <a:pt x="205" y="484"/>
                  </a:lnTo>
                  <a:lnTo>
                    <a:pt x="215" y="484"/>
                  </a:lnTo>
                  <a:lnTo>
                    <a:pt x="220" y="486"/>
                  </a:lnTo>
                  <a:lnTo>
                    <a:pt x="230" y="490"/>
                  </a:lnTo>
                  <a:lnTo>
                    <a:pt x="234" y="490"/>
                  </a:lnTo>
                  <a:lnTo>
                    <a:pt x="275" y="502"/>
                  </a:lnTo>
                  <a:lnTo>
                    <a:pt x="286" y="505"/>
                  </a:lnTo>
                  <a:lnTo>
                    <a:pt x="296" y="512"/>
                  </a:lnTo>
                  <a:lnTo>
                    <a:pt x="305" y="510"/>
                  </a:lnTo>
                  <a:lnTo>
                    <a:pt x="313" y="503"/>
                  </a:lnTo>
                  <a:lnTo>
                    <a:pt x="314" y="499"/>
                  </a:lnTo>
                  <a:lnTo>
                    <a:pt x="317" y="499"/>
                  </a:lnTo>
                  <a:lnTo>
                    <a:pt x="322" y="497"/>
                  </a:lnTo>
                  <a:lnTo>
                    <a:pt x="324" y="498"/>
                  </a:lnTo>
                  <a:lnTo>
                    <a:pt x="328" y="497"/>
                  </a:lnTo>
                  <a:lnTo>
                    <a:pt x="334" y="499"/>
                  </a:lnTo>
                  <a:lnTo>
                    <a:pt x="337" y="500"/>
                  </a:lnTo>
                  <a:lnTo>
                    <a:pt x="349" y="506"/>
                  </a:lnTo>
                  <a:lnTo>
                    <a:pt x="352" y="506"/>
                  </a:lnTo>
                  <a:lnTo>
                    <a:pt x="358" y="510"/>
                  </a:lnTo>
                  <a:lnTo>
                    <a:pt x="355" y="503"/>
                  </a:lnTo>
                  <a:lnTo>
                    <a:pt x="359" y="488"/>
                  </a:lnTo>
                  <a:lnTo>
                    <a:pt x="360" y="460"/>
                  </a:lnTo>
                  <a:lnTo>
                    <a:pt x="372" y="456"/>
                  </a:lnTo>
                  <a:lnTo>
                    <a:pt x="379" y="460"/>
                  </a:lnTo>
                  <a:lnTo>
                    <a:pt x="384" y="458"/>
                  </a:lnTo>
                  <a:lnTo>
                    <a:pt x="382" y="456"/>
                  </a:lnTo>
                  <a:lnTo>
                    <a:pt x="384" y="455"/>
                  </a:lnTo>
                  <a:lnTo>
                    <a:pt x="391" y="460"/>
                  </a:lnTo>
                  <a:lnTo>
                    <a:pt x="396" y="455"/>
                  </a:lnTo>
                  <a:lnTo>
                    <a:pt x="396" y="452"/>
                  </a:lnTo>
                  <a:lnTo>
                    <a:pt x="404" y="450"/>
                  </a:lnTo>
                  <a:lnTo>
                    <a:pt x="407" y="446"/>
                  </a:lnTo>
                  <a:lnTo>
                    <a:pt x="408" y="438"/>
                  </a:lnTo>
                  <a:lnTo>
                    <a:pt x="406" y="424"/>
                  </a:lnTo>
                  <a:lnTo>
                    <a:pt x="403" y="419"/>
                  </a:lnTo>
                  <a:lnTo>
                    <a:pt x="403" y="396"/>
                  </a:lnTo>
                  <a:lnTo>
                    <a:pt x="407" y="386"/>
                  </a:lnTo>
                  <a:lnTo>
                    <a:pt x="425" y="379"/>
                  </a:lnTo>
                  <a:lnTo>
                    <a:pt x="431" y="379"/>
                  </a:lnTo>
                  <a:lnTo>
                    <a:pt x="436" y="380"/>
                  </a:lnTo>
                  <a:lnTo>
                    <a:pt x="440" y="383"/>
                  </a:lnTo>
                  <a:lnTo>
                    <a:pt x="452" y="382"/>
                  </a:lnTo>
                  <a:lnTo>
                    <a:pt x="456" y="385"/>
                  </a:lnTo>
                  <a:lnTo>
                    <a:pt x="461" y="390"/>
                  </a:lnTo>
                  <a:lnTo>
                    <a:pt x="462" y="395"/>
                  </a:lnTo>
                  <a:lnTo>
                    <a:pt x="472" y="403"/>
                  </a:lnTo>
                  <a:lnTo>
                    <a:pt x="474" y="407"/>
                  </a:lnTo>
                  <a:lnTo>
                    <a:pt x="476" y="407"/>
                  </a:lnTo>
                  <a:lnTo>
                    <a:pt x="479" y="409"/>
                  </a:lnTo>
                  <a:lnTo>
                    <a:pt x="487" y="409"/>
                  </a:lnTo>
                  <a:lnTo>
                    <a:pt x="490" y="408"/>
                  </a:lnTo>
                  <a:lnTo>
                    <a:pt x="492" y="409"/>
                  </a:lnTo>
                  <a:lnTo>
                    <a:pt x="505" y="408"/>
                  </a:lnTo>
                  <a:lnTo>
                    <a:pt x="512" y="404"/>
                  </a:lnTo>
                  <a:lnTo>
                    <a:pt x="536" y="406"/>
                  </a:lnTo>
                  <a:lnTo>
                    <a:pt x="547" y="408"/>
                  </a:lnTo>
                  <a:lnTo>
                    <a:pt x="564" y="414"/>
                  </a:lnTo>
                  <a:lnTo>
                    <a:pt x="575" y="415"/>
                  </a:lnTo>
                  <a:lnTo>
                    <a:pt x="578" y="416"/>
                  </a:lnTo>
                  <a:lnTo>
                    <a:pt x="582" y="415"/>
                  </a:lnTo>
                  <a:lnTo>
                    <a:pt x="587" y="415"/>
                  </a:lnTo>
                  <a:lnTo>
                    <a:pt x="586" y="422"/>
                  </a:lnTo>
                  <a:lnTo>
                    <a:pt x="596" y="428"/>
                  </a:lnTo>
                  <a:lnTo>
                    <a:pt x="596" y="426"/>
                  </a:lnTo>
                  <a:lnTo>
                    <a:pt x="599" y="425"/>
                  </a:lnTo>
                  <a:lnTo>
                    <a:pt x="602" y="426"/>
                  </a:lnTo>
                  <a:lnTo>
                    <a:pt x="605" y="424"/>
                  </a:lnTo>
                  <a:lnTo>
                    <a:pt x="613" y="426"/>
                  </a:lnTo>
                  <a:lnTo>
                    <a:pt x="616" y="428"/>
                  </a:lnTo>
                  <a:lnTo>
                    <a:pt x="625" y="431"/>
                  </a:lnTo>
                  <a:lnTo>
                    <a:pt x="624" y="439"/>
                  </a:lnTo>
                  <a:lnTo>
                    <a:pt x="626" y="442"/>
                  </a:lnTo>
                  <a:lnTo>
                    <a:pt x="634" y="442"/>
                  </a:lnTo>
                  <a:lnTo>
                    <a:pt x="643" y="437"/>
                  </a:lnTo>
                  <a:lnTo>
                    <a:pt x="644" y="434"/>
                  </a:lnTo>
                  <a:lnTo>
                    <a:pt x="644" y="431"/>
                  </a:lnTo>
                  <a:lnTo>
                    <a:pt x="641" y="428"/>
                  </a:lnTo>
                  <a:lnTo>
                    <a:pt x="634" y="421"/>
                  </a:lnTo>
                  <a:lnTo>
                    <a:pt x="630" y="398"/>
                  </a:lnTo>
                  <a:lnTo>
                    <a:pt x="630" y="394"/>
                  </a:lnTo>
                  <a:lnTo>
                    <a:pt x="628" y="389"/>
                  </a:lnTo>
                  <a:lnTo>
                    <a:pt x="626" y="382"/>
                  </a:lnTo>
                  <a:lnTo>
                    <a:pt x="624" y="379"/>
                  </a:lnTo>
                  <a:lnTo>
                    <a:pt x="625" y="377"/>
                  </a:lnTo>
                  <a:lnTo>
                    <a:pt x="626" y="373"/>
                  </a:lnTo>
                  <a:lnTo>
                    <a:pt x="625" y="370"/>
                  </a:lnTo>
                  <a:lnTo>
                    <a:pt x="622" y="368"/>
                  </a:lnTo>
                  <a:lnTo>
                    <a:pt x="620" y="365"/>
                  </a:lnTo>
                  <a:lnTo>
                    <a:pt x="620" y="361"/>
                  </a:lnTo>
                  <a:lnTo>
                    <a:pt x="623" y="360"/>
                  </a:lnTo>
                  <a:lnTo>
                    <a:pt x="622" y="350"/>
                  </a:lnTo>
                  <a:lnTo>
                    <a:pt x="620" y="347"/>
                  </a:lnTo>
                  <a:lnTo>
                    <a:pt x="619" y="342"/>
                  </a:lnTo>
                  <a:lnTo>
                    <a:pt x="624" y="337"/>
                  </a:lnTo>
                  <a:lnTo>
                    <a:pt x="630" y="338"/>
                  </a:lnTo>
                  <a:lnTo>
                    <a:pt x="632" y="342"/>
                  </a:lnTo>
                  <a:lnTo>
                    <a:pt x="634" y="347"/>
                  </a:lnTo>
                  <a:lnTo>
                    <a:pt x="635" y="348"/>
                  </a:lnTo>
                  <a:lnTo>
                    <a:pt x="637" y="347"/>
                  </a:lnTo>
                  <a:lnTo>
                    <a:pt x="642" y="342"/>
                  </a:lnTo>
                  <a:lnTo>
                    <a:pt x="644" y="336"/>
                  </a:lnTo>
                  <a:lnTo>
                    <a:pt x="647" y="335"/>
                  </a:lnTo>
                  <a:lnTo>
                    <a:pt x="647" y="340"/>
                  </a:lnTo>
                  <a:lnTo>
                    <a:pt x="659" y="340"/>
                  </a:lnTo>
                  <a:lnTo>
                    <a:pt x="661" y="341"/>
                  </a:lnTo>
                  <a:lnTo>
                    <a:pt x="664" y="337"/>
                  </a:lnTo>
                  <a:lnTo>
                    <a:pt x="665" y="334"/>
                  </a:lnTo>
                  <a:lnTo>
                    <a:pt x="671" y="331"/>
                  </a:lnTo>
                  <a:lnTo>
                    <a:pt x="672" y="329"/>
                  </a:lnTo>
                  <a:lnTo>
                    <a:pt x="673" y="325"/>
                  </a:lnTo>
                  <a:lnTo>
                    <a:pt x="676" y="323"/>
                  </a:lnTo>
                  <a:lnTo>
                    <a:pt x="677" y="317"/>
                  </a:lnTo>
                  <a:lnTo>
                    <a:pt x="691" y="304"/>
                  </a:lnTo>
                  <a:lnTo>
                    <a:pt x="698" y="290"/>
                  </a:lnTo>
                  <a:lnTo>
                    <a:pt x="702" y="286"/>
                  </a:lnTo>
                  <a:lnTo>
                    <a:pt x="704" y="284"/>
                  </a:lnTo>
                  <a:lnTo>
                    <a:pt x="707" y="282"/>
                  </a:lnTo>
                  <a:lnTo>
                    <a:pt x="703" y="277"/>
                  </a:lnTo>
                  <a:lnTo>
                    <a:pt x="706" y="275"/>
                  </a:lnTo>
                  <a:lnTo>
                    <a:pt x="712" y="269"/>
                  </a:lnTo>
                  <a:lnTo>
                    <a:pt x="713" y="250"/>
                  </a:lnTo>
                  <a:lnTo>
                    <a:pt x="716" y="248"/>
                  </a:lnTo>
                  <a:lnTo>
                    <a:pt x="720" y="244"/>
                  </a:lnTo>
                  <a:lnTo>
                    <a:pt x="719" y="240"/>
                  </a:lnTo>
                  <a:lnTo>
                    <a:pt x="722" y="238"/>
                  </a:lnTo>
                  <a:lnTo>
                    <a:pt x="730" y="239"/>
                  </a:lnTo>
                  <a:lnTo>
                    <a:pt x="732" y="236"/>
                  </a:lnTo>
                  <a:lnTo>
                    <a:pt x="738" y="235"/>
                  </a:lnTo>
                  <a:lnTo>
                    <a:pt x="736" y="223"/>
                  </a:lnTo>
                  <a:lnTo>
                    <a:pt x="733" y="220"/>
                  </a:lnTo>
                  <a:lnTo>
                    <a:pt x="732" y="217"/>
                  </a:lnTo>
                  <a:lnTo>
                    <a:pt x="733" y="215"/>
                  </a:lnTo>
                  <a:lnTo>
                    <a:pt x="730" y="208"/>
                  </a:lnTo>
                  <a:lnTo>
                    <a:pt x="726" y="205"/>
                  </a:lnTo>
                  <a:lnTo>
                    <a:pt x="730" y="202"/>
                  </a:lnTo>
                  <a:lnTo>
                    <a:pt x="730" y="192"/>
                  </a:lnTo>
                  <a:lnTo>
                    <a:pt x="727" y="192"/>
                  </a:lnTo>
                  <a:lnTo>
                    <a:pt x="725" y="188"/>
                  </a:lnTo>
                  <a:lnTo>
                    <a:pt x="722" y="181"/>
                  </a:lnTo>
                  <a:lnTo>
                    <a:pt x="726" y="179"/>
                  </a:lnTo>
                  <a:lnTo>
                    <a:pt x="730" y="180"/>
                  </a:lnTo>
                  <a:lnTo>
                    <a:pt x="733" y="179"/>
                  </a:lnTo>
                  <a:lnTo>
                    <a:pt x="736" y="180"/>
                  </a:lnTo>
                  <a:lnTo>
                    <a:pt x="744" y="174"/>
                  </a:lnTo>
                  <a:lnTo>
                    <a:pt x="745" y="172"/>
                  </a:lnTo>
                  <a:lnTo>
                    <a:pt x="743" y="168"/>
                  </a:lnTo>
                  <a:lnTo>
                    <a:pt x="744" y="154"/>
                  </a:lnTo>
                  <a:lnTo>
                    <a:pt x="746" y="151"/>
                  </a:lnTo>
                  <a:lnTo>
                    <a:pt x="749" y="151"/>
                  </a:lnTo>
                  <a:lnTo>
                    <a:pt x="751" y="146"/>
                  </a:lnTo>
                  <a:lnTo>
                    <a:pt x="752" y="145"/>
                  </a:lnTo>
                  <a:lnTo>
                    <a:pt x="752" y="139"/>
                  </a:lnTo>
                  <a:lnTo>
                    <a:pt x="750" y="138"/>
                  </a:lnTo>
                  <a:lnTo>
                    <a:pt x="749" y="134"/>
                  </a:lnTo>
                  <a:lnTo>
                    <a:pt x="746" y="136"/>
                  </a:lnTo>
                  <a:lnTo>
                    <a:pt x="745" y="124"/>
                  </a:lnTo>
                  <a:lnTo>
                    <a:pt x="743" y="125"/>
                  </a:lnTo>
                  <a:lnTo>
                    <a:pt x="744" y="120"/>
                  </a:lnTo>
                  <a:lnTo>
                    <a:pt x="749" y="118"/>
                  </a:lnTo>
                  <a:lnTo>
                    <a:pt x="751" y="120"/>
                  </a:lnTo>
                  <a:lnTo>
                    <a:pt x="756" y="121"/>
                  </a:lnTo>
                  <a:lnTo>
                    <a:pt x="760" y="120"/>
                  </a:lnTo>
                  <a:lnTo>
                    <a:pt x="767" y="107"/>
                  </a:lnTo>
                  <a:lnTo>
                    <a:pt x="769" y="108"/>
                  </a:lnTo>
                  <a:lnTo>
                    <a:pt x="773" y="110"/>
                  </a:lnTo>
                  <a:lnTo>
                    <a:pt x="773" y="104"/>
                  </a:lnTo>
                  <a:lnTo>
                    <a:pt x="776" y="95"/>
                  </a:lnTo>
                  <a:lnTo>
                    <a:pt x="778" y="89"/>
                  </a:lnTo>
                  <a:lnTo>
                    <a:pt x="774" y="88"/>
                  </a:lnTo>
                  <a:lnTo>
                    <a:pt x="728" y="78"/>
                  </a:lnTo>
                  <a:lnTo>
                    <a:pt x="725" y="74"/>
                  </a:lnTo>
                  <a:lnTo>
                    <a:pt x="704" y="65"/>
                  </a:lnTo>
                  <a:lnTo>
                    <a:pt x="701" y="72"/>
                  </a:lnTo>
                  <a:lnTo>
                    <a:pt x="701" y="77"/>
                  </a:lnTo>
                  <a:lnTo>
                    <a:pt x="698" y="79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89" y="94"/>
                  </a:lnTo>
                  <a:lnTo>
                    <a:pt x="680" y="107"/>
                  </a:lnTo>
                  <a:lnTo>
                    <a:pt x="672" y="112"/>
                  </a:lnTo>
                  <a:lnTo>
                    <a:pt x="661" y="115"/>
                  </a:lnTo>
                  <a:lnTo>
                    <a:pt x="654" y="115"/>
                  </a:lnTo>
                  <a:lnTo>
                    <a:pt x="653" y="114"/>
                  </a:lnTo>
                  <a:lnTo>
                    <a:pt x="648" y="113"/>
                  </a:lnTo>
                  <a:lnTo>
                    <a:pt x="641" y="115"/>
                  </a:lnTo>
                  <a:lnTo>
                    <a:pt x="628" y="114"/>
                  </a:lnTo>
                  <a:lnTo>
                    <a:pt x="622" y="115"/>
                  </a:lnTo>
                  <a:lnTo>
                    <a:pt x="616" y="114"/>
                  </a:lnTo>
                  <a:lnTo>
                    <a:pt x="612" y="114"/>
                  </a:lnTo>
                  <a:lnTo>
                    <a:pt x="611" y="112"/>
                  </a:lnTo>
                  <a:lnTo>
                    <a:pt x="595" y="110"/>
                  </a:lnTo>
                  <a:lnTo>
                    <a:pt x="586" y="116"/>
                  </a:lnTo>
                  <a:lnTo>
                    <a:pt x="583" y="114"/>
                  </a:lnTo>
                  <a:lnTo>
                    <a:pt x="580" y="114"/>
                  </a:lnTo>
                  <a:lnTo>
                    <a:pt x="577" y="113"/>
                  </a:lnTo>
                  <a:lnTo>
                    <a:pt x="578" y="109"/>
                  </a:lnTo>
                  <a:lnTo>
                    <a:pt x="586" y="104"/>
                  </a:lnTo>
                  <a:lnTo>
                    <a:pt x="588" y="100"/>
                  </a:lnTo>
                  <a:lnTo>
                    <a:pt x="586" y="88"/>
                  </a:lnTo>
                  <a:lnTo>
                    <a:pt x="581" y="83"/>
                  </a:lnTo>
                  <a:lnTo>
                    <a:pt x="571" y="82"/>
                  </a:lnTo>
                  <a:lnTo>
                    <a:pt x="562" y="84"/>
                  </a:lnTo>
                  <a:lnTo>
                    <a:pt x="556" y="83"/>
                  </a:lnTo>
                  <a:lnTo>
                    <a:pt x="552" y="88"/>
                  </a:lnTo>
                  <a:lnTo>
                    <a:pt x="540" y="83"/>
                  </a:lnTo>
                  <a:lnTo>
                    <a:pt x="536" y="89"/>
                  </a:lnTo>
                  <a:lnTo>
                    <a:pt x="534" y="90"/>
                  </a:lnTo>
                  <a:lnTo>
                    <a:pt x="528" y="90"/>
                  </a:lnTo>
                  <a:lnTo>
                    <a:pt x="521" y="92"/>
                  </a:lnTo>
                  <a:lnTo>
                    <a:pt x="516" y="91"/>
                  </a:lnTo>
                  <a:lnTo>
                    <a:pt x="514" y="90"/>
                  </a:lnTo>
                  <a:lnTo>
                    <a:pt x="512" y="88"/>
                  </a:lnTo>
                  <a:lnTo>
                    <a:pt x="510" y="90"/>
                  </a:lnTo>
                  <a:lnTo>
                    <a:pt x="508" y="89"/>
                  </a:lnTo>
                  <a:lnTo>
                    <a:pt x="504" y="90"/>
                  </a:lnTo>
                  <a:lnTo>
                    <a:pt x="496" y="83"/>
                  </a:lnTo>
                  <a:lnTo>
                    <a:pt x="491" y="72"/>
                  </a:lnTo>
                  <a:lnTo>
                    <a:pt x="487" y="26"/>
                  </a:lnTo>
                  <a:lnTo>
                    <a:pt x="481" y="26"/>
                  </a:lnTo>
                  <a:lnTo>
                    <a:pt x="478" y="29"/>
                  </a:lnTo>
                  <a:lnTo>
                    <a:pt x="475" y="28"/>
                  </a:lnTo>
                  <a:lnTo>
                    <a:pt x="464" y="22"/>
                  </a:lnTo>
                  <a:lnTo>
                    <a:pt x="462" y="20"/>
                  </a:lnTo>
                  <a:lnTo>
                    <a:pt x="460" y="24"/>
                  </a:lnTo>
                  <a:lnTo>
                    <a:pt x="457" y="25"/>
                  </a:lnTo>
                  <a:lnTo>
                    <a:pt x="455" y="31"/>
                  </a:lnTo>
                  <a:lnTo>
                    <a:pt x="449" y="35"/>
                  </a:lnTo>
                  <a:lnTo>
                    <a:pt x="448" y="40"/>
                  </a:lnTo>
                  <a:lnTo>
                    <a:pt x="438" y="44"/>
                  </a:lnTo>
                  <a:lnTo>
                    <a:pt x="434" y="46"/>
                  </a:lnTo>
                  <a:lnTo>
                    <a:pt x="427" y="43"/>
                  </a:lnTo>
                  <a:lnTo>
                    <a:pt x="422" y="43"/>
                  </a:lnTo>
                  <a:lnTo>
                    <a:pt x="416" y="40"/>
                  </a:lnTo>
                  <a:lnTo>
                    <a:pt x="404" y="38"/>
                  </a:lnTo>
                  <a:lnTo>
                    <a:pt x="402" y="37"/>
                  </a:lnTo>
                  <a:lnTo>
                    <a:pt x="397" y="25"/>
                  </a:lnTo>
                  <a:lnTo>
                    <a:pt x="398" y="19"/>
                  </a:lnTo>
                  <a:lnTo>
                    <a:pt x="394" y="13"/>
                  </a:lnTo>
                  <a:lnTo>
                    <a:pt x="395" y="6"/>
                  </a:lnTo>
                  <a:lnTo>
                    <a:pt x="384" y="1"/>
                  </a:lnTo>
                  <a:lnTo>
                    <a:pt x="383" y="8"/>
                  </a:lnTo>
                  <a:lnTo>
                    <a:pt x="378" y="7"/>
                  </a:lnTo>
                  <a:lnTo>
                    <a:pt x="373" y="0"/>
                  </a:lnTo>
                  <a:lnTo>
                    <a:pt x="365" y="2"/>
                  </a:lnTo>
                  <a:lnTo>
                    <a:pt x="360" y="0"/>
                  </a:lnTo>
                  <a:lnTo>
                    <a:pt x="334" y="10"/>
                  </a:lnTo>
                  <a:lnTo>
                    <a:pt x="325" y="14"/>
                  </a:lnTo>
                  <a:lnTo>
                    <a:pt x="316" y="11"/>
                  </a:lnTo>
                  <a:lnTo>
                    <a:pt x="308" y="11"/>
                  </a:lnTo>
                  <a:lnTo>
                    <a:pt x="302" y="16"/>
                  </a:lnTo>
                  <a:lnTo>
                    <a:pt x="293" y="13"/>
                  </a:lnTo>
                  <a:lnTo>
                    <a:pt x="277" y="18"/>
                  </a:lnTo>
                  <a:lnTo>
                    <a:pt x="272" y="17"/>
                  </a:lnTo>
                  <a:lnTo>
                    <a:pt x="270" y="18"/>
                  </a:lnTo>
                  <a:lnTo>
                    <a:pt x="257" y="19"/>
                  </a:lnTo>
                  <a:lnTo>
                    <a:pt x="256" y="24"/>
                  </a:lnTo>
                  <a:lnTo>
                    <a:pt x="253" y="25"/>
                  </a:lnTo>
                  <a:lnTo>
                    <a:pt x="251" y="25"/>
                  </a:lnTo>
                  <a:lnTo>
                    <a:pt x="250" y="28"/>
                  </a:lnTo>
                  <a:lnTo>
                    <a:pt x="242" y="30"/>
                  </a:lnTo>
                  <a:lnTo>
                    <a:pt x="239" y="35"/>
                  </a:lnTo>
                  <a:lnTo>
                    <a:pt x="229" y="42"/>
                  </a:lnTo>
                  <a:lnTo>
                    <a:pt x="222" y="43"/>
                  </a:lnTo>
                  <a:lnTo>
                    <a:pt x="220" y="42"/>
                  </a:lnTo>
                  <a:lnTo>
                    <a:pt x="220" y="48"/>
                  </a:lnTo>
                  <a:lnTo>
                    <a:pt x="216" y="48"/>
                  </a:lnTo>
                  <a:lnTo>
                    <a:pt x="215" y="47"/>
                  </a:lnTo>
                  <a:lnTo>
                    <a:pt x="212" y="41"/>
                  </a:lnTo>
                  <a:lnTo>
                    <a:pt x="209" y="35"/>
                  </a:lnTo>
                  <a:lnTo>
                    <a:pt x="203" y="34"/>
                  </a:lnTo>
                  <a:lnTo>
                    <a:pt x="196" y="31"/>
                  </a:lnTo>
                  <a:lnTo>
                    <a:pt x="194" y="35"/>
                  </a:lnTo>
                  <a:lnTo>
                    <a:pt x="197" y="37"/>
                  </a:lnTo>
                  <a:lnTo>
                    <a:pt x="199" y="37"/>
                  </a:lnTo>
                  <a:lnTo>
                    <a:pt x="200" y="42"/>
                  </a:lnTo>
                  <a:lnTo>
                    <a:pt x="197" y="42"/>
                  </a:lnTo>
                  <a:lnTo>
                    <a:pt x="193" y="38"/>
                  </a:lnTo>
                  <a:lnTo>
                    <a:pt x="186" y="38"/>
                  </a:lnTo>
                  <a:lnTo>
                    <a:pt x="184" y="35"/>
                  </a:lnTo>
                  <a:lnTo>
                    <a:pt x="179" y="37"/>
                  </a:lnTo>
                  <a:lnTo>
                    <a:pt x="176" y="50"/>
                  </a:lnTo>
                  <a:lnTo>
                    <a:pt x="173" y="60"/>
                  </a:lnTo>
                  <a:lnTo>
                    <a:pt x="175" y="71"/>
                  </a:lnTo>
                  <a:lnTo>
                    <a:pt x="169" y="80"/>
                  </a:lnTo>
                  <a:lnTo>
                    <a:pt x="178" y="85"/>
                  </a:lnTo>
                  <a:lnTo>
                    <a:pt x="181" y="80"/>
                  </a:lnTo>
                  <a:lnTo>
                    <a:pt x="187" y="79"/>
                  </a:lnTo>
                  <a:lnTo>
                    <a:pt x="194" y="85"/>
                  </a:lnTo>
                  <a:lnTo>
                    <a:pt x="200" y="76"/>
                  </a:lnTo>
                  <a:lnTo>
                    <a:pt x="210" y="85"/>
                  </a:lnTo>
                  <a:lnTo>
                    <a:pt x="217" y="88"/>
                  </a:lnTo>
                  <a:lnTo>
                    <a:pt x="227" y="94"/>
                  </a:lnTo>
                  <a:lnTo>
                    <a:pt x="232" y="100"/>
                  </a:lnTo>
                  <a:lnTo>
                    <a:pt x="233" y="108"/>
                  </a:lnTo>
                  <a:lnTo>
                    <a:pt x="228" y="118"/>
                  </a:lnTo>
                  <a:lnTo>
                    <a:pt x="221" y="118"/>
                  </a:lnTo>
                  <a:lnTo>
                    <a:pt x="215" y="126"/>
                  </a:lnTo>
                  <a:lnTo>
                    <a:pt x="216" y="133"/>
                  </a:lnTo>
                  <a:lnTo>
                    <a:pt x="226" y="138"/>
                  </a:lnTo>
                  <a:lnTo>
                    <a:pt x="229" y="146"/>
                  </a:lnTo>
                  <a:lnTo>
                    <a:pt x="232" y="148"/>
                  </a:lnTo>
                  <a:lnTo>
                    <a:pt x="241" y="155"/>
                  </a:lnTo>
                  <a:lnTo>
                    <a:pt x="239" y="163"/>
                  </a:lnTo>
                  <a:lnTo>
                    <a:pt x="240" y="173"/>
                  </a:lnTo>
                  <a:lnTo>
                    <a:pt x="240" y="175"/>
                  </a:lnTo>
                  <a:lnTo>
                    <a:pt x="238" y="180"/>
                  </a:lnTo>
                  <a:lnTo>
                    <a:pt x="238" y="182"/>
                  </a:lnTo>
                  <a:lnTo>
                    <a:pt x="248" y="178"/>
                  </a:lnTo>
                  <a:lnTo>
                    <a:pt x="250" y="181"/>
                  </a:lnTo>
                  <a:lnTo>
                    <a:pt x="257" y="178"/>
                  </a:lnTo>
                  <a:lnTo>
                    <a:pt x="263" y="174"/>
                  </a:lnTo>
                  <a:lnTo>
                    <a:pt x="266" y="174"/>
                  </a:lnTo>
                  <a:lnTo>
                    <a:pt x="272" y="181"/>
                  </a:lnTo>
                  <a:lnTo>
                    <a:pt x="272" y="184"/>
                  </a:lnTo>
                  <a:lnTo>
                    <a:pt x="269" y="186"/>
                  </a:lnTo>
                  <a:lnTo>
                    <a:pt x="269" y="193"/>
                  </a:lnTo>
                  <a:lnTo>
                    <a:pt x="268" y="199"/>
                  </a:lnTo>
                  <a:lnTo>
                    <a:pt x="265" y="200"/>
                  </a:lnTo>
                  <a:lnTo>
                    <a:pt x="264" y="203"/>
                  </a:lnTo>
                  <a:lnTo>
                    <a:pt x="260" y="206"/>
                  </a:lnTo>
                  <a:lnTo>
                    <a:pt x="259" y="211"/>
                  </a:lnTo>
                  <a:lnTo>
                    <a:pt x="257" y="212"/>
                  </a:lnTo>
                  <a:lnTo>
                    <a:pt x="252" y="217"/>
                  </a:lnTo>
                  <a:lnTo>
                    <a:pt x="251" y="222"/>
                  </a:lnTo>
                  <a:lnTo>
                    <a:pt x="251" y="227"/>
                  </a:lnTo>
                  <a:lnTo>
                    <a:pt x="246" y="233"/>
                  </a:lnTo>
                  <a:lnTo>
                    <a:pt x="242" y="229"/>
                  </a:lnTo>
                  <a:lnTo>
                    <a:pt x="239" y="229"/>
                  </a:lnTo>
                  <a:lnTo>
                    <a:pt x="233" y="226"/>
                  </a:lnTo>
                  <a:lnTo>
                    <a:pt x="224" y="228"/>
                  </a:lnTo>
                  <a:lnTo>
                    <a:pt x="223" y="230"/>
                  </a:lnTo>
                  <a:lnTo>
                    <a:pt x="211" y="235"/>
                  </a:lnTo>
                  <a:lnTo>
                    <a:pt x="198" y="246"/>
                  </a:lnTo>
                  <a:lnTo>
                    <a:pt x="192" y="251"/>
                  </a:lnTo>
                  <a:lnTo>
                    <a:pt x="188" y="259"/>
                  </a:lnTo>
                  <a:lnTo>
                    <a:pt x="178" y="264"/>
                  </a:lnTo>
                  <a:lnTo>
                    <a:pt x="173" y="268"/>
                  </a:lnTo>
                  <a:lnTo>
                    <a:pt x="155" y="276"/>
                  </a:lnTo>
                  <a:lnTo>
                    <a:pt x="151" y="275"/>
                  </a:lnTo>
                  <a:lnTo>
                    <a:pt x="150" y="278"/>
                  </a:lnTo>
                  <a:lnTo>
                    <a:pt x="148" y="280"/>
                  </a:lnTo>
                  <a:lnTo>
                    <a:pt x="142" y="287"/>
                  </a:lnTo>
                  <a:lnTo>
                    <a:pt x="131" y="286"/>
                  </a:lnTo>
                  <a:lnTo>
                    <a:pt x="122" y="271"/>
                  </a:lnTo>
                  <a:lnTo>
                    <a:pt x="121" y="269"/>
                  </a:lnTo>
                  <a:lnTo>
                    <a:pt x="115" y="276"/>
                  </a:lnTo>
                  <a:lnTo>
                    <a:pt x="106" y="283"/>
                  </a:lnTo>
                  <a:lnTo>
                    <a:pt x="98" y="283"/>
                  </a:lnTo>
                  <a:lnTo>
                    <a:pt x="83" y="278"/>
                  </a:lnTo>
                  <a:lnTo>
                    <a:pt x="82" y="281"/>
                  </a:lnTo>
                  <a:lnTo>
                    <a:pt x="77" y="282"/>
                  </a:lnTo>
                  <a:lnTo>
                    <a:pt x="77" y="284"/>
                  </a:lnTo>
                  <a:lnTo>
                    <a:pt x="72" y="290"/>
                  </a:lnTo>
                  <a:lnTo>
                    <a:pt x="71" y="292"/>
                  </a:lnTo>
                  <a:lnTo>
                    <a:pt x="67" y="292"/>
                  </a:lnTo>
                  <a:lnTo>
                    <a:pt x="65" y="289"/>
                  </a:lnTo>
                  <a:lnTo>
                    <a:pt x="62" y="289"/>
                  </a:lnTo>
                  <a:lnTo>
                    <a:pt x="60" y="287"/>
                  </a:lnTo>
                  <a:lnTo>
                    <a:pt x="58" y="292"/>
                  </a:lnTo>
                  <a:lnTo>
                    <a:pt x="59" y="294"/>
                  </a:lnTo>
                  <a:lnTo>
                    <a:pt x="60" y="298"/>
                  </a:lnTo>
                  <a:lnTo>
                    <a:pt x="59" y="300"/>
                  </a:lnTo>
                  <a:lnTo>
                    <a:pt x="55" y="305"/>
                  </a:lnTo>
                  <a:lnTo>
                    <a:pt x="44" y="312"/>
                  </a:lnTo>
                  <a:lnTo>
                    <a:pt x="41" y="319"/>
                  </a:lnTo>
                  <a:lnTo>
                    <a:pt x="36" y="325"/>
                  </a:lnTo>
                  <a:lnTo>
                    <a:pt x="20" y="341"/>
                  </a:lnTo>
                  <a:lnTo>
                    <a:pt x="2" y="354"/>
                  </a:lnTo>
                  <a:lnTo>
                    <a:pt x="5" y="360"/>
                  </a:lnTo>
                  <a:lnTo>
                    <a:pt x="5" y="362"/>
                  </a:lnTo>
                  <a:lnTo>
                    <a:pt x="2" y="364"/>
                  </a:lnTo>
                  <a:lnTo>
                    <a:pt x="2" y="365"/>
                  </a:lnTo>
                  <a:lnTo>
                    <a:pt x="0" y="366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9" name="Freeform 17"/>
            <p:cNvSpPr>
              <a:spLocks/>
            </p:cNvSpPr>
            <p:nvPr/>
          </p:nvSpPr>
          <p:spPr bwMode="auto">
            <a:xfrm>
              <a:off x="4656138" y="4725988"/>
              <a:ext cx="134937" cy="128587"/>
            </a:xfrm>
            <a:custGeom>
              <a:avLst/>
              <a:gdLst>
                <a:gd name="T0" fmla="*/ 1912273 w 169"/>
                <a:gd name="T1" fmla="*/ 51030669 h 161"/>
                <a:gd name="T2" fmla="*/ 5737617 w 169"/>
                <a:gd name="T3" fmla="*/ 45927922 h 161"/>
                <a:gd name="T4" fmla="*/ 7012732 w 169"/>
                <a:gd name="T5" fmla="*/ 41462519 h 161"/>
                <a:gd name="T6" fmla="*/ 15300578 w 169"/>
                <a:gd name="T7" fmla="*/ 31894368 h 161"/>
                <a:gd name="T8" fmla="*/ 22313310 w 169"/>
                <a:gd name="T9" fmla="*/ 26153478 h 161"/>
                <a:gd name="T10" fmla="*/ 28050927 w 169"/>
                <a:gd name="T11" fmla="*/ 21049932 h 161"/>
                <a:gd name="T12" fmla="*/ 29963200 w 169"/>
                <a:gd name="T13" fmla="*/ 15309041 h 161"/>
                <a:gd name="T14" fmla="*/ 34425702 w 169"/>
                <a:gd name="T15" fmla="*/ 9568151 h 161"/>
                <a:gd name="T16" fmla="*/ 39526161 w 169"/>
                <a:gd name="T17" fmla="*/ 5102747 h 161"/>
                <a:gd name="T18" fmla="*/ 51638553 w 169"/>
                <a:gd name="T19" fmla="*/ 7016378 h 161"/>
                <a:gd name="T20" fmla="*/ 56738214 w 169"/>
                <a:gd name="T21" fmla="*/ 8930008 h 161"/>
                <a:gd name="T22" fmla="*/ 61838673 w 169"/>
                <a:gd name="T23" fmla="*/ 8930008 h 161"/>
                <a:gd name="T24" fmla="*/ 73313907 w 169"/>
                <a:gd name="T25" fmla="*/ 0 h 161"/>
                <a:gd name="T26" fmla="*/ 77139251 w 169"/>
                <a:gd name="T27" fmla="*/ 3189117 h 161"/>
                <a:gd name="T28" fmla="*/ 79688682 w 169"/>
                <a:gd name="T29" fmla="*/ 8930008 h 161"/>
                <a:gd name="T30" fmla="*/ 81601753 w 169"/>
                <a:gd name="T31" fmla="*/ 17860814 h 161"/>
                <a:gd name="T32" fmla="*/ 84151983 w 169"/>
                <a:gd name="T33" fmla="*/ 22963562 h 161"/>
                <a:gd name="T34" fmla="*/ 91801873 w 169"/>
                <a:gd name="T35" fmla="*/ 29342595 h 161"/>
                <a:gd name="T36" fmla="*/ 96901533 w 169"/>
                <a:gd name="T37" fmla="*/ 29342595 h 161"/>
                <a:gd name="T38" fmla="*/ 102639150 w 169"/>
                <a:gd name="T39" fmla="*/ 29342595 h 161"/>
                <a:gd name="T40" fmla="*/ 105189380 w 169"/>
                <a:gd name="T41" fmla="*/ 24239848 h 161"/>
                <a:gd name="T42" fmla="*/ 107739609 w 169"/>
                <a:gd name="T43" fmla="*/ 28704452 h 161"/>
                <a:gd name="T44" fmla="*/ 107739609 w 169"/>
                <a:gd name="T45" fmla="*/ 33807998 h 161"/>
                <a:gd name="T46" fmla="*/ 103277107 w 169"/>
                <a:gd name="T47" fmla="*/ 38273401 h 161"/>
                <a:gd name="T48" fmla="*/ 105189380 w 169"/>
                <a:gd name="T49" fmla="*/ 41462519 h 161"/>
                <a:gd name="T50" fmla="*/ 98814605 w 169"/>
                <a:gd name="T51" fmla="*/ 52944300 h 161"/>
                <a:gd name="T52" fmla="*/ 101364834 w 169"/>
                <a:gd name="T53" fmla="*/ 54857930 h 161"/>
                <a:gd name="T54" fmla="*/ 104552222 w 169"/>
                <a:gd name="T55" fmla="*/ 59323333 h 161"/>
                <a:gd name="T56" fmla="*/ 107102451 w 169"/>
                <a:gd name="T57" fmla="*/ 62512450 h 161"/>
                <a:gd name="T58" fmla="*/ 103914265 w 169"/>
                <a:gd name="T59" fmla="*/ 65064223 h 161"/>
                <a:gd name="T60" fmla="*/ 99451763 w 169"/>
                <a:gd name="T61" fmla="*/ 64426080 h 161"/>
                <a:gd name="T62" fmla="*/ 99451763 w 169"/>
                <a:gd name="T63" fmla="*/ 67615996 h 161"/>
                <a:gd name="T64" fmla="*/ 98814605 w 169"/>
                <a:gd name="T65" fmla="*/ 75908660 h 161"/>
                <a:gd name="T66" fmla="*/ 97539490 w 169"/>
                <a:gd name="T67" fmla="*/ 87390441 h 161"/>
                <a:gd name="T68" fmla="*/ 91801873 w 169"/>
                <a:gd name="T69" fmla="*/ 89304071 h 161"/>
                <a:gd name="T70" fmla="*/ 84789141 w 169"/>
                <a:gd name="T71" fmla="*/ 83563180 h 161"/>
                <a:gd name="T72" fmla="*/ 81601753 w 169"/>
                <a:gd name="T73" fmla="*/ 80373264 h 161"/>
                <a:gd name="T74" fmla="*/ 74589022 w 169"/>
                <a:gd name="T75" fmla="*/ 88027785 h 161"/>
                <a:gd name="T76" fmla="*/ 66939132 w 169"/>
                <a:gd name="T77" fmla="*/ 94406818 h 161"/>
                <a:gd name="T78" fmla="*/ 64388902 w 169"/>
                <a:gd name="T79" fmla="*/ 95683104 h 161"/>
                <a:gd name="T80" fmla="*/ 54825941 w 169"/>
                <a:gd name="T81" fmla="*/ 98872222 h 161"/>
                <a:gd name="T82" fmla="*/ 51001395 w 169"/>
                <a:gd name="T83" fmla="*/ 102699482 h 161"/>
                <a:gd name="T84" fmla="*/ 49726281 w 169"/>
                <a:gd name="T85" fmla="*/ 97596734 h 161"/>
                <a:gd name="T86" fmla="*/ 45263778 w 169"/>
                <a:gd name="T87" fmla="*/ 91855045 h 161"/>
                <a:gd name="T88" fmla="*/ 40163319 w 169"/>
                <a:gd name="T89" fmla="*/ 85476811 h 161"/>
                <a:gd name="T90" fmla="*/ 35062860 w 169"/>
                <a:gd name="T91" fmla="*/ 76546004 h 161"/>
                <a:gd name="T92" fmla="*/ 31238315 w 169"/>
                <a:gd name="T93" fmla="*/ 79735920 h 161"/>
                <a:gd name="T94" fmla="*/ 19125124 w 169"/>
                <a:gd name="T95" fmla="*/ 86114155 h 161"/>
                <a:gd name="T96" fmla="*/ 14662622 w 169"/>
                <a:gd name="T97" fmla="*/ 82286895 h 161"/>
                <a:gd name="T98" fmla="*/ 9562961 w 169"/>
                <a:gd name="T99" fmla="*/ 63150593 h 161"/>
                <a:gd name="T100" fmla="*/ 637158 w 169"/>
                <a:gd name="T101" fmla="*/ 53582443 h 16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9"/>
                <a:gd name="T154" fmla="*/ 0 h 161"/>
                <a:gd name="T155" fmla="*/ 169 w 169"/>
                <a:gd name="T156" fmla="*/ 161 h 16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9" h="161">
                  <a:moveTo>
                    <a:pt x="0" y="83"/>
                  </a:moveTo>
                  <a:lnTo>
                    <a:pt x="3" y="80"/>
                  </a:lnTo>
                  <a:lnTo>
                    <a:pt x="6" y="78"/>
                  </a:lnTo>
                  <a:lnTo>
                    <a:pt x="9" y="72"/>
                  </a:lnTo>
                  <a:lnTo>
                    <a:pt x="12" y="68"/>
                  </a:lnTo>
                  <a:lnTo>
                    <a:pt x="11" y="65"/>
                  </a:lnTo>
                  <a:lnTo>
                    <a:pt x="23" y="52"/>
                  </a:lnTo>
                  <a:lnTo>
                    <a:pt x="24" y="50"/>
                  </a:lnTo>
                  <a:lnTo>
                    <a:pt x="26" y="46"/>
                  </a:lnTo>
                  <a:lnTo>
                    <a:pt x="35" y="41"/>
                  </a:lnTo>
                  <a:lnTo>
                    <a:pt x="39" y="35"/>
                  </a:lnTo>
                  <a:lnTo>
                    <a:pt x="44" y="33"/>
                  </a:lnTo>
                  <a:lnTo>
                    <a:pt x="47" y="29"/>
                  </a:lnTo>
                  <a:lnTo>
                    <a:pt x="47" y="24"/>
                  </a:lnTo>
                  <a:lnTo>
                    <a:pt x="51" y="16"/>
                  </a:lnTo>
                  <a:lnTo>
                    <a:pt x="54" y="15"/>
                  </a:lnTo>
                  <a:lnTo>
                    <a:pt x="59" y="6"/>
                  </a:lnTo>
                  <a:lnTo>
                    <a:pt x="62" y="8"/>
                  </a:lnTo>
                  <a:lnTo>
                    <a:pt x="69" y="10"/>
                  </a:lnTo>
                  <a:lnTo>
                    <a:pt x="81" y="11"/>
                  </a:lnTo>
                  <a:lnTo>
                    <a:pt x="84" y="12"/>
                  </a:lnTo>
                  <a:lnTo>
                    <a:pt x="89" y="14"/>
                  </a:lnTo>
                  <a:lnTo>
                    <a:pt x="93" y="16"/>
                  </a:lnTo>
                  <a:lnTo>
                    <a:pt x="97" y="14"/>
                  </a:lnTo>
                  <a:lnTo>
                    <a:pt x="108" y="4"/>
                  </a:lnTo>
                  <a:lnTo>
                    <a:pt x="115" y="0"/>
                  </a:lnTo>
                  <a:lnTo>
                    <a:pt x="119" y="3"/>
                  </a:lnTo>
                  <a:lnTo>
                    <a:pt x="121" y="5"/>
                  </a:lnTo>
                  <a:lnTo>
                    <a:pt x="122" y="6"/>
                  </a:lnTo>
                  <a:lnTo>
                    <a:pt x="125" y="14"/>
                  </a:lnTo>
                  <a:lnTo>
                    <a:pt x="125" y="16"/>
                  </a:lnTo>
                  <a:lnTo>
                    <a:pt x="128" y="28"/>
                  </a:lnTo>
                  <a:lnTo>
                    <a:pt x="132" y="33"/>
                  </a:lnTo>
                  <a:lnTo>
                    <a:pt x="132" y="36"/>
                  </a:lnTo>
                  <a:lnTo>
                    <a:pt x="134" y="44"/>
                  </a:lnTo>
                  <a:lnTo>
                    <a:pt x="144" y="46"/>
                  </a:lnTo>
                  <a:lnTo>
                    <a:pt x="149" y="46"/>
                  </a:lnTo>
                  <a:lnTo>
                    <a:pt x="152" y="46"/>
                  </a:lnTo>
                  <a:lnTo>
                    <a:pt x="157" y="46"/>
                  </a:lnTo>
                  <a:lnTo>
                    <a:pt x="161" y="46"/>
                  </a:lnTo>
                  <a:lnTo>
                    <a:pt x="162" y="44"/>
                  </a:lnTo>
                  <a:lnTo>
                    <a:pt x="165" y="38"/>
                  </a:lnTo>
                  <a:lnTo>
                    <a:pt x="169" y="33"/>
                  </a:lnTo>
                  <a:lnTo>
                    <a:pt x="169" y="45"/>
                  </a:lnTo>
                  <a:lnTo>
                    <a:pt x="169" y="52"/>
                  </a:lnTo>
                  <a:lnTo>
                    <a:pt x="169" y="53"/>
                  </a:lnTo>
                  <a:lnTo>
                    <a:pt x="168" y="56"/>
                  </a:lnTo>
                  <a:lnTo>
                    <a:pt x="162" y="60"/>
                  </a:lnTo>
                  <a:lnTo>
                    <a:pt x="164" y="62"/>
                  </a:lnTo>
                  <a:lnTo>
                    <a:pt x="165" y="65"/>
                  </a:lnTo>
                  <a:lnTo>
                    <a:pt x="156" y="74"/>
                  </a:lnTo>
                  <a:lnTo>
                    <a:pt x="155" y="83"/>
                  </a:lnTo>
                  <a:lnTo>
                    <a:pt x="157" y="84"/>
                  </a:lnTo>
                  <a:lnTo>
                    <a:pt x="159" y="86"/>
                  </a:lnTo>
                  <a:lnTo>
                    <a:pt x="162" y="87"/>
                  </a:lnTo>
                  <a:lnTo>
                    <a:pt x="164" y="93"/>
                  </a:lnTo>
                  <a:lnTo>
                    <a:pt x="167" y="95"/>
                  </a:lnTo>
                  <a:lnTo>
                    <a:pt x="168" y="98"/>
                  </a:lnTo>
                  <a:lnTo>
                    <a:pt x="167" y="102"/>
                  </a:lnTo>
                  <a:lnTo>
                    <a:pt x="163" y="102"/>
                  </a:lnTo>
                  <a:lnTo>
                    <a:pt x="159" y="102"/>
                  </a:lnTo>
                  <a:lnTo>
                    <a:pt x="156" y="101"/>
                  </a:lnTo>
                  <a:lnTo>
                    <a:pt x="155" y="104"/>
                  </a:lnTo>
                  <a:lnTo>
                    <a:pt x="156" y="106"/>
                  </a:lnTo>
                  <a:lnTo>
                    <a:pt x="153" y="114"/>
                  </a:lnTo>
                  <a:lnTo>
                    <a:pt x="155" y="119"/>
                  </a:lnTo>
                  <a:lnTo>
                    <a:pt x="153" y="124"/>
                  </a:lnTo>
                  <a:lnTo>
                    <a:pt x="153" y="137"/>
                  </a:lnTo>
                  <a:lnTo>
                    <a:pt x="147" y="142"/>
                  </a:lnTo>
                  <a:lnTo>
                    <a:pt x="144" y="140"/>
                  </a:lnTo>
                  <a:lnTo>
                    <a:pt x="139" y="134"/>
                  </a:lnTo>
                  <a:lnTo>
                    <a:pt x="133" y="131"/>
                  </a:lnTo>
                  <a:lnTo>
                    <a:pt x="131" y="128"/>
                  </a:lnTo>
                  <a:lnTo>
                    <a:pt x="128" y="126"/>
                  </a:lnTo>
                  <a:lnTo>
                    <a:pt x="125" y="132"/>
                  </a:lnTo>
                  <a:lnTo>
                    <a:pt x="117" y="138"/>
                  </a:lnTo>
                  <a:lnTo>
                    <a:pt x="107" y="141"/>
                  </a:lnTo>
                  <a:lnTo>
                    <a:pt x="105" y="148"/>
                  </a:lnTo>
                  <a:lnTo>
                    <a:pt x="104" y="149"/>
                  </a:lnTo>
                  <a:lnTo>
                    <a:pt x="101" y="150"/>
                  </a:lnTo>
                  <a:lnTo>
                    <a:pt x="95" y="150"/>
                  </a:lnTo>
                  <a:lnTo>
                    <a:pt x="86" y="155"/>
                  </a:lnTo>
                  <a:lnTo>
                    <a:pt x="85" y="158"/>
                  </a:lnTo>
                  <a:lnTo>
                    <a:pt x="80" y="161"/>
                  </a:lnTo>
                  <a:lnTo>
                    <a:pt x="78" y="155"/>
                  </a:lnTo>
                  <a:lnTo>
                    <a:pt x="78" y="153"/>
                  </a:lnTo>
                  <a:lnTo>
                    <a:pt x="74" y="147"/>
                  </a:lnTo>
                  <a:lnTo>
                    <a:pt x="71" y="144"/>
                  </a:lnTo>
                  <a:lnTo>
                    <a:pt x="66" y="136"/>
                  </a:lnTo>
                  <a:lnTo>
                    <a:pt x="63" y="134"/>
                  </a:lnTo>
                  <a:lnTo>
                    <a:pt x="60" y="124"/>
                  </a:lnTo>
                  <a:lnTo>
                    <a:pt x="55" y="120"/>
                  </a:lnTo>
                  <a:lnTo>
                    <a:pt x="54" y="120"/>
                  </a:lnTo>
                  <a:lnTo>
                    <a:pt x="49" y="125"/>
                  </a:lnTo>
                  <a:lnTo>
                    <a:pt x="44" y="131"/>
                  </a:lnTo>
                  <a:lnTo>
                    <a:pt x="30" y="135"/>
                  </a:lnTo>
                  <a:lnTo>
                    <a:pt x="26" y="134"/>
                  </a:lnTo>
                  <a:lnTo>
                    <a:pt x="23" y="129"/>
                  </a:lnTo>
                  <a:lnTo>
                    <a:pt x="18" y="114"/>
                  </a:lnTo>
                  <a:lnTo>
                    <a:pt x="15" y="99"/>
                  </a:lnTo>
                  <a:lnTo>
                    <a:pt x="3" y="98"/>
                  </a:lnTo>
                  <a:lnTo>
                    <a:pt x="1" y="84"/>
                  </a:lnTo>
                  <a:lnTo>
                    <a:pt x="0" y="83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0" name="Freeform 18"/>
            <p:cNvSpPr>
              <a:spLocks/>
            </p:cNvSpPr>
            <p:nvPr/>
          </p:nvSpPr>
          <p:spPr bwMode="auto">
            <a:xfrm>
              <a:off x="4721225" y="4452938"/>
              <a:ext cx="346075" cy="473075"/>
            </a:xfrm>
            <a:custGeom>
              <a:avLst/>
              <a:gdLst>
                <a:gd name="T0" fmla="*/ 15051491 w 437"/>
                <a:gd name="T1" fmla="*/ 310609456 h 596"/>
                <a:gd name="T2" fmla="*/ 31985408 w 437"/>
                <a:gd name="T3" fmla="*/ 297378438 h 596"/>
                <a:gd name="T4" fmla="*/ 45782476 w 437"/>
                <a:gd name="T5" fmla="*/ 294858281 h 596"/>
                <a:gd name="T6" fmla="*/ 49545744 w 437"/>
                <a:gd name="T7" fmla="*/ 280997819 h 596"/>
                <a:gd name="T8" fmla="*/ 51427379 w 437"/>
                <a:gd name="T9" fmla="*/ 271546638 h 596"/>
                <a:gd name="T10" fmla="*/ 52681009 w 437"/>
                <a:gd name="T11" fmla="*/ 255796256 h 596"/>
                <a:gd name="T12" fmla="*/ 55817067 w 437"/>
                <a:gd name="T13" fmla="*/ 237524925 h 596"/>
                <a:gd name="T14" fmla="*/ 59580335 w 437"/>
                <a:gd name="T15" fmla="*/ 201612500 h 596"/>
                <a:gd name="T16" fmla="*/ 74004615 w 437"/>
                <a:gd name="T17" fmla="*/ 172631100 h 596"/>
                <a:gd name="T18" fmla="*/ 85293629 w 437"/>
                <a:gd name="T19" fmla="*/ 190272194 h 596"/>
                <a:gd name="T20" fmla="*/ 104735599 w 437"/>
                <a:gd name="T21" fmla="*/ 211062888 h 596"/>
                <a:gd name="T22" fmla="*/ 126059205 w 437"/>
                <a:gd name="T23" fmla="*/ 207913288 h 596"/>
                <a:gd name="T24" fmla="*/ 141737907 w 437"/>
                <a:gd name="T25" fmla="*/ 211062888 h 596"/>
                <a:gd name="T26" fmla="*/ 151145286 w 437"/>
                <a:gd name="T27" fmla="*/ 199092344 h 596"/>
                <a:gd name="T28" fmla="*/ 171841680 w 437"/>
                <a:gd name="T29" fmla="*/ 197202425 h 596"/>
                <a:gd name="T30" fmla="*/ 166196777 w 437"/>
                <a:gd name="T31" fmla="*/ 185231881 h 596"/>
                <a:gd name="T32" fmla="*/ 149263652 w 437"/>
                <a:gd name="T33" fmla="*/ 176410938 h 596"/>
                <a:gd name="T34" fmla="*/ 142365118 w 437"/>
                <a:gd name="T35" fmla="*/ 161920238 h 596"/>
                <a:gd name="T36" fmla="*/ 126686416 w 437"/>
                <a:gd name="T37" fmla="*/ 152469850 h 596"/>
                <a:gd name="T38" fmla="*/ 114770191 w 437"/>
                <a:gd name="T39" fmla="*/ 141128750 h 596"/>
                <a:gd name="T40" fmla="*/ 123550359 w 437"/>
                <a:gd name="T41" fmla="*/ 100806250 h 596"/>
                <a:gd name="T42" fmla="*/ 117279036 w 437"/>
                <a:gd name="T43" fmla="*/ 75604688 h 596"/>
                <a:gd name="T44" fmla="*/ 124177570 w 437"/>
                <a:gd name="T45" fmla="*/ 68044219 h 596"/>
                <a:gd name="T46" fmla="*/ 151145286 w 437"/>
                <a:gd name="T47" fmla="*/ 40952738 h 596"/>
                <a:gd name="T48" fmla="*/ 153654132 w 437"/>
                <a:gd name="T49" fmla="*/ 11970544 h 596"/>
                <a:gd name="T50" fmla="*/ 174976945 w 437"/>
                <a:gd name="T51" fmla="*/ 2520156 h 596"/>
                <a:gd name="T52" fmla="*/ 184384325 w 437"/>
                <a:gd name="T53" fmla="*/ 25831800 h 596"/>
                <a:gd name="T54" fmla="*/ 201945454 w 437"/>
                <a:gd name="T55" fmla="*/ 44732575 h 596"/>
                <a:gd name="T56" fmla="*/ 183757906 w 437"/>
                <a:gd name="T57" fmla="*/ 49772888 h 596"/>
                <a:gd name="T58" fmla="*/ 183757906 w 437"/>
                <a:gd name="T59" fmla="*/ 93876019 h 596"/>
                <a:gd name="T60" fmla="*/ 198809396 w 437"/>
                <a:gd name="T61" fmla="*/ 100806250 h 596"/>
                <a:gd name="T62" fmla="*/ 213860887 w 437"/>
                <a:gd name="T63" fmla="*/ 85685313 h 596"/>
                <a:gd name="T64" fmla="*/ 225149901 w 437"/>
                <a:gd name="T65" fmla="*/ 91355863 h 596"/>
                <a:gd name="T66" fmla="*/ 243337449 w 437"/>
                <a:gd name="T67" fmla="*/ 106476800 h 596"/>
                <a:gd name="T68" fmla="*/ 228913170 w 437"/>
                <a:gd name="T69" fmla="*/ 122227975 h 596"/>
                <a:gd name="T70" fmla="*/ 215115310 w 437"/>
                <a:gd name="T71" fmla="*/ 161920238 h 596"/>
                <a:gd name="T72" fmla="*/ 210725622 w 437"/>
                <a:gd name="T73" fmla="*/ 175151256 h 596"/>
                <a:gd name="T74" fmla="*/ 213233676 w 437"/>
                <a:gd name="T75" fmla="*/ 190272194 h 596"/>
                <a:gd name="T76" fmla="*/ 232675647 w 437"/>
                <a:gd name="T77" fmla="*/ 197832663 h 596"/>
                <a:gd name="T78" fmla="*/ 255253675 w 437"/>
                <a:gd name="T79" fmla="*/ 206652813 h 596"/>
                <a:gd name="T80" fmla="*/ 229540381 w 437"/>
                <a:gd name="T81" fmla="*/ 221773750 h 596"/>
                <a:gd name="T82" fmla="*/ 216996944 w 437"/>
                <a:gd name="T83" fmla="*/ 252645863 h 596"/>
                <a:gd name="T84" fmla="*/ 205080719 w 437"/>
                <a:gd name="T85" fmla="*/ 265876881 h 596"/>
                <a:gd name="T86" fmla="*/ 222641055 w 437"/>
                <a:gd name="T87" fmla="*/ 282887738 h 596"/>
                <a:gd name="T88" fmla="*/ 232675647 w 437"/>
                <a:gd name="T89" fmla="*/ 299898594 h 596"/>
                <a:gd name="T90" fmla="*/ 247727929 w 437"/>
                <a:gd name="T91" fmla="*/ 306828825 h 596"/>
                <a:gd name="T92" fmla="*/ 269677954 w 437"/>
                <a:gd name="T93" fmla="*/ 311239694 h 596"/>
                <a:gd name="T94" fmla="*/ 262152208 w 437"/>
                <a:gd name="T95" fmla="*/ 329510231 h 596"/>
                <a:gd name="T96" fmla="*/ 236438915 w 437"/>
                <a:gd name="T97" fmla="*/ 341481569 h 596"/>
                <a:gd name="T98" fmla="*/ 213233676 w 437"/>
                <a:gd name="T99" fmla="*/ 339590856 h 596"/>
                <a:gd name="T100" fmla="*/ 191283651 w 437"/>
                <a:gd name="T101" fmla="*/ 354711794 h 596"/>
                <a:gd name="T102" fmla="*/ 184384325 w 437"/>
                <a:gd name="T103" fmla="*/ 352191638 h 596"/>
                <a:gd name="T104" fmla="*/ 166196777 w 437"/>
                <a:gd name="T105" fmla="*/ 337070700 h 596"/>
                <a:gd name="T106" fmla="*/ 149890864 w 437"/>
                <a:gd name="T107" fmla="*/ 328250550 h 596"/>
                <a:gd name="T108" fmla="*/ 146754806 w 437"/>
                <a:gd name="T109" fmla="*/ 358492425 h 596"/>
                <a:gd name="T110" fmla="*/ 131076104 w 437"/>
                <a:gd name="T111" fmla="*/ 364162975 h 596"/>
                <a:gd name="T112" fmla="*/ 103481177 w 437"/>
                <a:gd name="T113" fmla="*/ 360382344 h 596"/>
                <a:gd name="T114" fmla="*/ 88429686 w 437"/>
                <a:gd name="T115" fmla="*/ 371093206 h 596"/>
                <a:gd name="T116" fmla="*/ 77140672 w 437"/>
                <a:gd name="T117" fmla="*/ 369203288 h 596"/>
                <a:gd name="T118" fmla="*/ 52681009 w 437"/>
                <a:gd name="T119" fmla="*/ 360382344 h 596"/>
                <a:gd name="T120" fmla="*/ 29476562 w 437"/>
                <a:gd name="T121" fmla="*/ 341481569 h 596"/>
                <a:gd name="T122" fmla="*/ 10661803 w 437"/>
                <a:gd name="T123" fmla="*/ 328250550 h 59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37"/>
                <a:gd name="T187" fmla="*/ 0 h 596"/>
                <a:gd name="T188" fmla="*/ 437 w 437"/>
                <a:gd name="T189" fmla="*/ 596 h 59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37" h="596">
                  <a:moveTo>
                    <a:pt x="0" y="505"/>
                  </a:moveTo>
                  <a:lnTo>
                    <a:pt x="5" y="502"/>
                  </a:lnTo>
                  <a:lnTo>
                    <a:pt x="6" y="499"/>
                  </a:lnTo>
                  <a:lnTo>
                    <a:pt x="15" y="494"/>
                  </a:lnTo>
                  <a:lnTo>
                    <a:pt x="21" y="494"/>
                  </a:lnTo>
                  <a:lnTo>
                    <a:pt x="24" y="493"/>
                  </a:lnTo>
                  <a:lnTo>
                    <a:pt x="25" y="492"/>
                  </a:lnTo>
                  <a:lnTo>
                    <a:pt x="27" y="485"/>
                  </a:lnTo>
                  <a:lnTo>
                    <a:pt x="37" y="482"/>
                  </a:lnTo>
                  <a:lnTo>
                    <a:pt x="45" y="476"/>
                  </a:lnTo>
                  <a:lnTo>
                    <a:pt x="48" y="470"/>
                  </a:lnTo>
                  <a:lnTo>
                    <a:pt x="51" y="472"/>
                  </a:lnTo>
                  <a:lnTo>
                    <a:pt x="53" y="475"/>
                  </a:lnTo>
                  <a:lnTo>
                    <a:pt x="59" y="478"/>
                  </a:lnTo>
                  <a:lnTo>
                    <a:pt x="64" y="484"/>
                  </a:lnTo>
                  <a:lnTo>
                    <a:pt x="67" y="486"/>
                  </a:lnTo>
                  <a:lnTo>
                    <a:pt x="73" y="481"/>
                  </a:lnTo>
                  <a:lnTo>
                    <a:pt x="73" y="468"/>
                  </a:lnTo>
                  <a:lnTo>
                    <a:pt x="75" y="463"/>
                  </a:lnTo>
                  <a:lnTo>
                    <a:pt x="73" y="458"/>
                  </a:lnTo>
                  <a:lnTo>
                    <a:pt x="76" y="450"/>
                  </a:lnTo>
                  <a:lnTo>
                    <a:pt x="75" y="448"/>
                  </a:lnTo>
                  <a:lnTo>
                    <a:pt x="76" y="445"/>
                  </a:lnTo>
                  <a:lnTo>
                    <a:pt x="79" y="446"/>
                  </a:lnTo>
                  <a:lnTo>
                    <a:pt x="83" y="446"/>
                  </a:lnTo>
                  <a:lnTo>
                    <a:pt x="87" y="446"/>
                  </a:lnTo>
                  <a:lnTo>
                    <a:pt x="88" y="442"/>
                  </a:lnTo>
                  <a:lnTo>
                    <a:pt x="87" y="439"/>
                  </a:lnTo>
                  <a:lnTo>
                    <a:pt x="84" y="437"/>
                  </a:lnTo>
                  <a:lnTo>
                    <a:pt x="82" y="431"/>
                  </a:lnTo>
                  <a:lnTo>
                    <a:pt x="79" y="430"/>
                  </a:lnTo>
                  <a:lnTo>
                    <a:pt x="77" y="428"/>
                  </a:lnTo>
                  <a:lnTo>
                    <a:pt x="75" y="427"/>
                  </a:lnTo>
                  <a:lnTo>
                    <a:pt x="76" y="418"/>
                  </a:lnTo>
                  <a:lnTo>
                    <a:pt x="85" y="409"/>
                  </a:lnTo>
                  <a:lnTo>
                    <a:pt x="84" y="406"/>
                  </a:lnTo>
                  <a:lnTo>
                    <a:pt x="82" y="404"/>
                  </a:lnTo>
                  <a:lnTo>
                    <a:pt x="88" y="400"/>
                  </a:lnTo>
                  <a:lnTo>
                    <a:pt x="89" y="397"/>
                  </a:lnTo>
                  <a:lnTo>
                    <a:pt x="89" y="396"/>
                  </a:lnTo>
                  <a:lnTo>
                    <a:pt x="89" y="389"/>
                  </a:lnTo>
                  <a:lnTo>
                    <a:pt x="89" y="377"/>
                  </a:lnTo>
                  <a:lnTo>
                    <a:pt x="89" y="371"/>
                  </a:lnTo>
                  <a:lnTo>
                    <a:pt x="91" y="359"/>
                  </a:lnTo>
                  <a:lnTo>
                    <a:pt x="89" y="342"/>
                  </a:lnTo>
                  <a:lnTo>
                    <a:pt x="91" y="334"/>
                  </a:lnTo>
                  <a:lnTo>
                    <a:pt x="94" y="331"/>
                  </a:lnTo>
                  <a:lnTo>
                    <a:pt x="95" y="320"/>
                  </a:lnTo>
                  <a:lnTo>
                    <a:pt x="93" y="312"/>
                  </a:lnTo>
                  <a:lnTo>
                    <a:pt x="94" y="302"/>
                  </a:lnTo>
                  <a:lnTo>
                    <a:pt x="93" y="290"/>
                  </a:lnTo>
                  <a:lnTo>
                    <a:pt x="93" y="276"/>
                  </a:lnTo>
                  <a:lnTo>
                    <a:pt x="106" y="280"/>
                  </a:lnTo>
                  <a:lnTo>
                    <a:pt x="118" y="274"/>
                  </a:lnTo>
                  <a:lnTo>
                    <a:pt x="120" y="275"/>
                  </a:lnTo>
                  <a:lnTo>
                    <a:pt x="121" y="278"/>
                  </a:lnTo>
                  <a:lnTo>
                    <a:pt x="125" y="283"/>
                  </a:lnTo>
                  <a:lnTo>
                    <a:pt x="127" y="286"/>
                  </a:lnTo>
                  <a:lnTo>
                    <a:pt x="132" y="299"/>
                  </a:lnTo>
                  <a:lnTo>
                    <a:pt x="136" y="302"/>
                  </a:lnTo>
                  <a:lnTo>
                    <a:pt x="141" y="306"/>
                  </a:lnTo>
                  <a:lnTo>
                    <a:pt x="142" y="308"/>
                  </a:lnTo>
                  <a:lnTo>
                    <a:pt x="144" y="316"/>
                  </a:lnTo>
                  <a:lnTo>
                    <a:pt x="154" y="325"/>
                  </a:lnTo>
                  <a:lnTo>
                    <a:pt x="155" y="328"/>
                  </a:lnTo>
                  <a:lnTo>
                    <a:pt x="167" y="335"/>
                  </a:lnTo>
                  <a:lnTo>
                    <a:pt x="173" y="337"/>
                  </a:lnTo>
                  <a:lnTo>
                    <a:pt x="175" y="338"/>
                  </a:lnTo>
                  <a:lnTo>
                    <a:pt x="177" y="343"/>
                  </a:lnTo>
                  <a:lnTo>
                    <a:pt x="187" y="343"/>
                  </a:lnTo>
                  <a:lnTo>
                    <a:pt x="199" y="335"/>
                  </a:lnTo>
                  <a:lnTo>
                    <a:pt x="201" y="330"/>
                  </a:lnTo>
                  <a:lnTo>
                    <a:pt x="203" y="328"/>
                  </a:lnTo>
                  <a:lnTo>
                    <a:pt x="213" y="323"/>
                  </a:lnTo>
                  <a:lnTo>
                    <a:pt x="216" y="324"/>
                  </a:lnTo>
                  <a:lnTo>
                    <a:pt x="217" y="329"/>
                  </a:lnTo>
                  <a:lnTo>
                    <a:pt x="223" y="331"/>
                  </a:lnTo>
                  <a:lnTo>
                    <a:pt x="226" y="335"/>
                  </a:lnTo>
                  <a:lnTo>
                    <a:pt x="229" y="335"/>
                  </a:lnTo>
                  <a:lnTo>
                    <a:pt x="232" y="332"/>
                  </a:lnTo>
                  <a:lnTo>
                    <a:pt x="237" y="326"/>
                  </a:lnTo>
                  <a:lnTo>
                    <a:pt x="241" y="324"/>
                  </a:lnTo>
                  <a:lnTo>
                    <a:pt x="241" y="320"/>
                  </a:lnTo>
                  <a:lnTo>
                    <a:pt x="241" y="316"/>
                  </a:lnTo>
                  <a:lnTo>
                    <a:pt x="246" y="313"/>
                  </a:lnTo>
                  <a:lnTo>
                    <a:pt x="252" y="312"/>
                  </a:lnTo>
                  <a:lnTo>
                    <a:pt x="259" y="313"/>
                  </a:lnTo>
                  <a:lnTo>
                    <a:pt x="264" y="313"/>
                  </a:lnTo>
                  <a:lnTo>
                    <a:pt x="270" y="316"/>
                  </a:lnTo>
                  <a:lnTo>
                    <a:pt x="274" y="313"/>
                  </a:lnTo>
                  <a:lnTo>
                    <a:pt x="280" y="305"/>
                  </a:lnTo>
                  <a:lnTo>
                    <a:pt x="280" y="299"/>
                  </a:lnTo>
                  <a:lnTo>
                    <a:pt x="279" y="296"/>
                  </a:lnTo>
                  <a:lnTo>
                    <a:pt x="273" y="294"/>
                  </a:lnTo>
                  <a:lnTo>
                    <a:pt x="269" y="298"/>
                  </a:lnTo>
                  <a:lnTo>
                    <a:pt x="265" y="294"/>
                  </a:lnTo>
                  <a:lnTo>
                    <a:pt x="264" y="287"/>
                  </a:lnTo>
                  <a:lnTo>
                    <a:pt x="261" y="281"/>
                  </a:lnTo>
                  <a:lnTo>
                    <a:pt x="257" y="278"/>
                  </a:lnTo>
                  <a:lnTo>
                    <a:pt x="252" y="277"/>
                  </a:lnTo>
                  <a:lnTo>
                    <a:pt x="245" y="280"/>
                  </a:lnTo>
                  <a:lnTo>
                    <a:pt x="238" y="280"/>
                  </a:lnTo>
                  <a:lnTo>
                    <a:pt x="237" y="278"/>
                  </a:lnTo>
                  <a:lnTo>
                    <a:pt x="237" y="272"/>
                  </a:lnTo>
                  <a:lnTo>
                    <a:pt x="234" y="269"/>
                  </a:lnTo>
                  <a:lnTo>
                    <a:pt x="237" y="260"/>
                  </a:lnTo>
                  <a:lnTo>
                    <a:pt x="233" y="258"/>
                  </a:lnTo>
                  <a:lnTo>
                    <a:pt x="227" y="257"/>
                  </a:lnTo>
                  <a:lnTo>
                    <a:pt x="225" y="253"/>
                  </a:lnTo>
                  <a:lnTo>
                    <a:pt x="219" y="248"/>
                  </a:lnTo>
                  <a:lnTo>
                    <a:pt x="214" y="248"/>
                  </a:lnTo>
                  <a:lnTo>
                    <a:pt x="213" y="246"/>
                  </a:lnTo>
                  <a:lnTo>
                    <a:pt x="205" y="240"/>
                  </a:lnTo>
                  <a:lnTo>
                    <a:pt x="202" y="242"/>
                  </a:lnTo>
                  <a:lnTo>
                    <a:pt x="197" y="241"/>
                  </a:lnTo>
                  <a:lnTo>
                    <a:pt x="195" y="239"/>
                  </a:lnTo>
                  <a:lnTo>
                    <a:pt x="190" y="238"/>
                  </a:lnTo>
                  <a:lnTo>
                    <a:pt x="184" y="238"/>
                  </a:lnTo>
                  <a:lnTo>
                    <a:pt x="179" y="235"/>
                  </a:lnTo>
                  <a:lnTo>
                    <a:pt x="183" y="224"/>
                  </a:lnTo>
                  <a:lnTo>
                    <a:pt x="179" y="215"/>
                  </a:lnTo>
                  <a:lnTo>
                    <a:pt x="178" y="205"/>
                  </a:lnTo>
                  <a:lnTo>
                    <a:pt x="183" y="191"/>
                  </a:lnTo>
                  <a:lnTo>
                    <a:pt x="193" y="178"/>
                  </a:lnTo>
                  <a:lnTo>
                    <a:pt x="197" y="169"/>
                  </a:lnTo>
                  <a:lnTo>
                    <a:pt x="197" y="160"/>
                  </a:lnTo>
                  <a:lnTo>
                    <a:pt x="198" y="155"/>
                  </a:lnTo>
                  <a:lnTo>
                    <a:pt x="201" y="152"/>
                  </a:lnTo>
                  <a:lnTo>
                    <a:pt x="204" y="145"/>
                  </a:lnTo>
                  <a:lnTo>
                    <a:pt x="202" y="132"/>
                  </a:lnTo>
                  <a:lnTo>
                    <a:pt x="189" y="122"/>
                  </a:lnTo>
                  <a:lnTo>
                    <a:pt x="187" y="120"/>
                  </a:lnTo>
                  <a:lnTo>
                    <a:pt x="177" y="113"/>
                  </a:lnTo>
                  <a:lnTo>
                    <a:pt x="177" y="109"/>
                  </a:lnTo>
                  <a:lnTo>
                    <a:pt x="183" y="106"/>
                  </a:lnTo>
                  <a:lnTo>
                    <a:pt x="187" y="106"/>
                  </a:lnTo>
                  <a:lnTo>
                    <a:pt x="191" y="107"/>
                  </a:lnTo>
                  <a:lnTo>
                    <a:pt x="198" y="108"/>
                  </a:lnTo>
                  <a:lnTo>
                    <a:pt x="202" y="107"/>
                  </a:lnTo>
                  <a:lnTo>
                    <a:pt x="204" y="104"/>
                  </a:lnTo>
                  <a:lnTo>
                    <a:pt x="211" y="90"/>
                  </a:lnTo>
                  <a:lnTo>
                    <a:pt x="217" y="84"/>
                  </a:lnTo>
                  <a:lnTo>
                    <a:pt x="234" y="73"/>
                  </a:lnTo>
                  <a:lnTo>
                    <a:pt x="241" y="65"/>
                  </a:lnTo>
                  <a:lnTo>
                    <a:pt x="239" y="52"/>
                  </a:lnTo>
                  <a:lnTo>
                    <a:pt x="244" y="47"/>
                  </a:lnTo>
                  <a:lnTo>
                    <a:pt x="250" y="32"/>
                  </a:lnTo>
                  <a:lnTo>
                    <a:pt x="244" y="26"/>
                  </a:lnTo>
                  <a:lnTo>
                    <a:pt x="243" y="20"/>
                  </a:lnTo>
                  <a:lnTo>
                    <a:pt x="245" y="19"/>
                  </a:lnTo>
                  <a:lnTo>
                    <a:pt x="258" y="18"/>
                  </a:lnTo>
                  <a:lnTo>
                    <a:pt x="262" y="14"/>
                  </a:lnTo>
                  <a:lnTo>
                    <a:pt x="261" y="4"/>
                  </a:lnTo>
                  <a:lnTo>
                    <a:pt x="263" y="5"/>
                  </a:lnTo>
                  <a:lnTo>
                    <a:pt x="268" y="4"/>
                  </a:lnTo>
                  <a:lnTo>
                    <a:pt x="279" y="4"/>
                  </a:lnTo>
                  <a:lnTo>
                    <a:pt x="281" y="1"/>
                  </a:lnTo>
                  <a:lnTo>
                    <a:pt x="286" y="0"/>
                  </a:lnTo>
                  <a:lnTo>
                    <a:pt x="291" y="13"/>
                  </a:lnTo>
                  <a:lnTo>
                    <a:pt x="287" y="32"/>
                  </a:lnTo>
                  <a:lnTo>
                    <a:pt x="289" y="37"/>
                  </a:lnTo>
                  <a:lnTo>
                    <a:pt x="294" y="41"/>
                  </a:lnTo>
                  <a:lnTo>
                    <a:pt x="298" y="48"/>
                  </a:lnTo>
                  <a:lnTo>
                    <a:pt x="303" y="49"/>
                  </a:lnTo>
                  <a:lnTo>
                    <a:pt x="307" y="49"/>
                  </a:lnTo>
                  <a:lnTo>
                    <a:pt x="312" y="53"/>
                  </a:lnTo>
                  <a:lnTo>
                    <a:pt x="322" y="60"/>
                  </a:lnTo>
                  <a:lnTo>
                    <a:pt x="322" y="71"/>
                  </a:lnTo>
                  <a:lnTo>
                    <a:pt x="317" y="74"/>
                  </a:lnTo>
                  <a:lnTo>
                    <a:pt x="307" y="79"/>
                  </a:lnTo>
                  <a:lnTo>
                    <a:pt x="301" y="85"/>
                  </a:lnTo>
                  <a:lnTo>
                    <a:pt x="298" y="84"/>
                  </a:lnTo>
                  <a:lnTo>
                    <a:pt x="297" y="79"/>
                  </a:lnTo>
                  <a:lnTo>
                    <a:pt x="293" y="79"/>
                  </a:lnTo>
                  <a:lnTo>
                    <a:pt x="291" y="80"/>
                  </a:lnTo>
                  <a:lnTo>
                    <a:pt x="282" y="86"/>
                  </a:lnTo>
                  <a:lnTo>
                    <a:pt x="279" y="138"/>
                  </a:lnTo>
                  <a:lnTo>
                    <a:pt x="287" y="144"/>
                  </a:lnTo>
                  <a:lnTo>
                    <a:pt x="291" y="148"/>
                  </a:lnTo>
                  <a:lnTo>
                    <a:pt x="293" y="149"/>
                  </a:lnTo>
                  <a:lnTo>
                    <a:pt x="303" y="149"/>
                  </a:lnTo>
                  <a:lnTo>
                    <a:pt x="303" y="155"/>
                  </a:lnTo>
                  <a:lnTo>
                    <a:pt x="307" y="163"/>
                  </a:lnTo>
                  <a:lnTo>
                    <a:pt x="310" y="163"/>
                  </a:lnTo>
                  <a:lnTo>
                    <a:pt x="313" y="162"/>
                  </a:lnTo>
                  <a:lnTo>
                    <a:pt x="317" y="160"/>
                  </a:lnTo>
                  <a:lnTo>
                    <a:pt x="322" y="154"/>
                  </a:lnTo>
                  <a:lnTo>
                    <a:pt x="329" y="150"/>
                  </a:lnTo>
                  <a:lnTo>
                    <a:pt x="331" y="145"/>
                  </a:lnTo>
                  <a:lnTo>
                    <a:pt x="334" y="137"/>
                  </a:lnTo>
                  <a:lnTo>
                    <a:pt x="340" y="133"/>
                  </a:lnTo>
                  <a:lnTo>
                    <a:pt x="341" y="136"/>
                  </a:lnTo>
                  <a:lnTo>
                    <a:pt x="343" y="136"/>
                  </a:lnTo>
                  <a:lnTo>
                    <a:pt x="346" y="134"/>
                  </a:lnTo>
                  <a:lnTo>
                    <a:pt x="349" y="136"/>
                  </a:lnTo>
                  <a:lnTo>
                    <a:pt x="353" y="137"/>
                  </a:lnTo>
                  <a:lnTo>
                    <a:pt x="357" y="143"/>
                  </a:lnTo>
                  <a:lnTo>
                    <a:pt x="359" y="145"/>
                  </a:lnTo>
                  <a:lnTo>
                    <a:pt x="387" y="158"/>
                  </a:lnTo>
                  <a:lnTo>
                    <a:pt x="391" y="158"/>
                  </a:lnTo>
                  <a:lnTo>
                    <a:pt x="395" y="158"/>
                  </a:lnTo>
                  <a:lnTo>
                    <a:pt x="393" y="167"/>
                  </a:lnTo>
                  <a:lnTo>
                    <a:pt x="390" y="167"/>
                  </a:lnTo>
                  <a:lnTo>
                    <a:pt x="388" y="169"/>
                  </a:lnTo>
                  <a:lnTo>
                    <a:pt x="384" y="175"/>
                  </a:lnTo>
                  <a:lnTo>
                    <a:pt x="381" y="176"/>
                  </a:lnTo>
                  <a:lnTo>
                    <a:pt x="375" y="184"/>
                  </a:lnTo>
                  <a:lnTo>
                    <a:pt x="373" y="188"/>
                  </a:lnTo>
                  <a:lnTo>
                    <a:pt x="370" y="190"/>
                  </a:lnTo>
                  <a:lnTo>
                    <a:pt x="365" y="194"/>
                  </a:lnTo>
                  <a:lnTo>
                    <a:pt x="365" y="199"/>
                  </a:lnTo>
                  <a:lnTo>
                    <a:pt x="358" y="212"/>
                  </a:lnTo>
                  <a:lnTo>
                    <a:pt x="354" y="229"/>
                  </a:lnTo>
                  <a:lnTo>
                    <a:pt x="351" y="238"/>
                  </a:lnTo>
                  <a:lnTo>
                    <a:pt x="342" y="252"/>
                  </a:lnTo>
                  <a:lnTo>
                    <a:pt x="343" y="257"/>
                  </a:lnTo>
                  <a:lnTo>
                    <a:pt x="341" y="259"/>
                  </a:lnTo>
                  <a:lnTo>
                    <a:pt x="337" y="262"/>
                  </a:lnTo>
                  <a:lnTo>
                    <a:pt x="333" y="269"/>
                  </a:lnTo>
                  <a:lnTo>
                    <a:pt x="331" y="274"/>
                  </a:lnTo>
                  <a:lnTo>
                    <a:pt x="333" y="276"/>
                  </a:lnTo>
                  <a:lnTo>
                    <a:pt x="336" y="278"/>
                  </a:lnTo>
                  <a:lnTo>
                    <a:pt x="341" y="284"/>
                  </a:lnTo>
                  <a:lnTo>
                    <a:pt x="341" y="288"/>
                  </a:lnTo>
                  <a:lnTo>
                    <a:pt x="336" y="295"/>
                  </a:lnTo>
                  <a:lnTo>
                    <a:pt x="336" y="298"/>
                  </a:lnTo>
                  <a:lnTo>
                    <a:pt x="337" y="300"/>
                  </a:lnTo>
                  <a:lnTo>
                    <a:pt x="340" y="302"/>
                  </a:lnTo>
                  <a:lnTo>
                    <a:pt x="349" y="308"/>
                  </a:lnTo>
                  <a:lnTo>
                    <a:pt x="353" y="308"/>
                  </a:lnTo>
                  <a:lnTo>
                    <a:pt x="354" y="310"/>
                  </a:lnTo>
                  <a:lnTo>
                    <a:pt x="359" y="313"/>
                  </a:lnTo>
                  <a:lnTo>
                    <a:pt x="367" y="316"/>
                  </a:lnTo>
                  <a:lnTo>
                    <a:pt x="371" y="314"/>
                  </a:lnTo>
                  <a:lnTo>
                    <a:pt x="378" y="320"/>
                  </a:lnTo>
                  <a:lnTo>
                    <a:pt x="388" y="320"/>
                  </a:lnTo>
                  <a:lnTo>
                    <a:pt x="396" y="322"/>
                  </a:lnTo>
                  <a:lnTo>
                    <a:pt x="403" y="324"/>
                  </a:lnTo>
                  <a:lnTo>
                    <a:pt x="405" y="326"/>
                  </a:lnTo>
                  <a:lnTo>
                    <a:pt x="407" y="328"/>
                  </a:lnTo>
                  <a:lnTo>
                    <a:pt x="405" y="336"/>
                  </a:lnTo>
                  <a:lnTo>
                    <a:pt x="400" y="342"/>
                  </a:lnTo>
                  <a:lnTo>
                    <a:pt x="393" y="346"/>
                  </a:lnTo>
                  <a:lnTo>
                    <a:pt x="376" y="349"/>
                  </a:lnTo>
                  <a:lnTo>
                    <a:pt x="371" y="348"/>
                  </a:lnTo>
                  <a:lnTo>
                    <a:pt x="366" y="352"/>
                  </a:lnTo>
                  <a:lnTo>
                    <a:pt x="358" y="353"/>
                  </a:lnTo>
                  <a:lnTo>
                    <a:pt x="355" y="350"/>
                  </a:lnTo>
                  <a:lnTo>
                    <a:pt x="353" y="353"/>
                  </a:lnTo>
                  <a:lnTo>
                    <a:pt x="352" y="358"/>
                  </a:lnTo>
                  <a:lnTo>
                    <a:pt x="349" y="395"/>
                  </a:lnTo>
                  <a:lnTo>
                    <a:pt x="346" y="401"/>
                  </a:lnTo>
                  <a:lnTo>
                    <a:pt x="343" y="402"/>
                  </a:lnTo>
                  <a:lnTo>
                    <a:pt x="337" y="407"/>
                  </a:lnTo>
                  <a:lnTo>
                    <a:pt x="334" y="415"/>
                  </a:lnTo>
                  <a:lnTo>
                    <a:pt x="330" y="416"/>
                  </a:lnTo>
                  <a:lnTo>
                    <a:pt x="329" y="420"/>
                  </a:lnTo>
                  <a:lnTo>
                    <a:pt x="327" y="422"/>
                  </a:lnTo>
                  <a:lnTo>
                    <a:pt x="328" y="438"/>
                  </a:lnTo>
                  <a:lnTo>
                    <a:pt x="334" y="444"/>
                  </a:lnTo>
                  <a:lnTo>
                    <a:pt x="339" y="445"/>
                  </a:lnTo>
                  <a:lnTo>
                    <a:pt x="347" y="446"/>
                  </a:lnTo>
                  <a:lnTo>
                    <a:pt x="349" y="449"/>
                  </a:lnTo>
                  <a:lnTo>
                    <a:pt x="355" y="449"/>
                  </a:lnTo>
                  <a:lnTo>
                    <a:pt x="363" y="451"/>
                  </a:lnTo>
                  <a:lnTo>
                    <a:pt x="367" y="456"/>
                  </a:lnTo>
                  <a:lnTo>
                    <a:pt x="367" y="458"/>
                  </a:lnTo>
                  <a:lnTo>
                    <a:pt x="367" y="466"/>
                  </a:lnTo>
                  <a:lnTo>
                    <a:pt x="367" y="472"/>
                  </a:lnTo>
                  <a:lnTo>
                    <a:pt x="371" y="476"/>
                  </a:lnTo>
                  <a:lnTo>
                    <a:pt x="375" y="491"/>
                  </a:lnTo>
                  <a:lnTo>
                    <a:pt x="387" y="492"/>
                  </a:lnTo>
                  <a:lnTo>
                    <a:pt x="389" y="488"/>
                  </a:lnTo>
                  <a:lnTo>
                    <a:pt x="390" y="488"/>
                  </a:lnTo>
                  <a:lnTo>
                    <a:pt x="393" y="486"/>
                  </a:lnTo>
                  <a:lnTo>
                    <a:pt x="395" y="487"/>
                  </a:lnTo>
                  <a:lnTo>
                    <a:pt x="400" y="487"/>
                  </a:lnTo>
                  <a:lnTo>
                    <a:pt x="408" y="485"/>
                  </a:lnTo>
                  <a:lnTo>
                    <a:pt x="415" y="480"/>
                  </a:lnTo>
                  <a:lnTo>
                    <a:pt x="423" y="479"/>
                  </a:lnTo>
                  <a:lnTo>
                    <a:pt x="426" y="484"/>
                  </a:lnTo>
                  <a:lnTo>
                    <a:pt x="430" y="494"/>
                  </a:lnTo>
                  <a:lnTo>
                    <a:pt x="432" y="497"/>
                  </a:lnTo>
                  <a:lnTo>
                    <a:pt x="437" y="500"/>
                  </a:lnTo>
                  <a:lnTo>
                    <a:pt x="430" y="516"/>
                  </a:lnTo>
                  <a:lnTo>
                    <a:pt x="426" y="518"/>
                  </a:lnTo>
                  <a:lnTo>
                    <a:pt x="424" y="521"/>
                  </a:lnTo>
                  <a:lnTo>
                    <a:pt x="418" y="523"/>
                  </a:lnTo>
                  <a:lnTo>
                    <a:pt x="415" y="523"/>
                  </a:lnTo>
                  <a:lnTo>
                    <a:pt x="405" y="524"/>
                  </a:lnTo>
                  <a:lnTo>
                    <a:pt x="395" y="530"/>
                  </a:lnTo>
                  <a:lnTo>
                    <a:pt x="388" y="536"/>
                  </a:lnTo>
                  <a:lnTo>
                    <a:pt x="383" y="542"/>
                  </a:lnTo>
                  <a:lnTo>
                    <a:pt x="377" y="542"/>
                  </a:lnTo>
                  <a:lnTo>
                    <a:pt x="372" y="541"/>
                  </a:lnTo>
                  <a:lnTo>
                    <a:pt x="363" y="535"/>
                  </a:lnTo>
                  <a:lnTo>
                    <a:pt x="359" y="534"/>
                  </a:lnTo>
                  <a:lnTo>
                    <a:pt x="352" y="535"/>
                  </a:lnTo>
                  <a:lnTo>
                    <a:pt x="349" y="538"/>
                  </a:lnTo>
                  <a:lnTo>
                    <a:pt x="340" y="539"/>
                  </a:lnTo>
                  <a:lnTo>
                    <a:pt x="334" y="542"/>
                  </a:lnTo>
                  <a:lnTo>
                    <a:pt x="328" y="545"/>
                  </a:lnTo>
                  <a:lnTo>
                    <a:pt x="319" y="551"/>
                  </a:lnTo>
                  <a:lnTo>
                    <a:pt x="316" y="552"/>
                  </a:lnTo>
                  <a:lnTo>
                    <a:pt x="310" y="557"/>
                  </a:lnTo>
                  <a:lnTo>
                    <a:pt x="305" y="563"/>
                  </a:lnTo>
                  <a:lnTo>
                    <a:pt x="304" y="566"/>
                  </a:lnTo>
                  <a:lnTo>
                    <a:pt x="303" y="577"/>
                  </a:lnTo>
                  <a:lnTo>
                    <a:pt x="299" y="577"/>
                  </a:lnTo>
                  <a:lnTo>
                    <a:pt x="298" y="570"/>
                  </a:lnTo>
                  <a:lnTo>
                    <a:pt x="300" y="568"/>
                  </a:lnTo>
                  <a:lnTo>
                    <a:pt x="294" y="559"/>
                  </a:lnTo>
                  <a:lnTo>
                    <a:pt x="293" y="564"/>
                  </a:lnTo>
                  <a:lnTo>
                    <a:pt x="293" y="569"/>
                  </a:lnTo>
                  <a:lnTo>
                    <a:pt x="289" y="569"/>
                  </a:lnTo>
                  <a:lnTo>
                    <a:pt x="285" y="565"/>
                  </a:lnTo>
                  <a:lnTo>
                    <a:pt x="279" y="548"/>
                  </a:lnTo>
                  <a:lnTo>
                    <a:pt x="265" y="535"/>
                  </a:lnTo>
                  <a:lnTo>
                    <a:pt x="269" y="514"/>
                  </a:lnTo>
                  <a:lnTo>
                    <a:pt x="268" y="511"/>
                  </a:lnTo>
                  <a:lnTo>
                    <a:pt x="264" y="509"/>
                  </a:lnTo>
                  <a:lnTo>
                    <a:pt x="250" y="511"/>
                  </a:lnTo>
                  <a:lnTo>
                    <a:pt x="244" y="512"/>
                  </a:lnTo>
                  <a:lnTo>
                    <a:pt x="239" y="521"/>
                  </a:lnTo>
                  <a:lnTo>
                    <a:pt x="232" y="523"/>
                  </a:lnTo>
                  <a:lnTo>
                    <a:pt x="220" y="550"/>
                  </a:lnTo>
                  <a:lnTo>
                    <a:pt x="223" y="552"/>
                  </a:lnTo>
                  <a:lnTo>
                    <a:pt x="226" y="563"/>
                  </a:lnTo>
                  <a:lnTo>
                    <a:pt x="231" y="565"/>
                  </a:lnTo>
                  <a:lnTo>
                    <a:pt x="234" y="569"/>
                  </a:lnTo>
                  <a:lnTo>
                    <a:pt x="235" y="572"/>
                  </a:lnTo>
                  <a:lnTo>
                    <a:pt x="234" y="576"/>
                  </a:lnTo>
                  <a:lnTo>
                    <a:pt x="223" y="584"/>
                  </a:lnTo>
                  <a:lnTo>
                    <a:pt x="217" y="586"/>
                  </a:lnTo>
                  <a:lnTo>
                    <a:pt x="214" y="587"/>
                  </a:lnTo>
                  <a:lnTo>
                    <a:pt x="209" y="578"/>
                  </a:lnTo>
                  <a:lnTo>
                    <a:pt x="205" y="577"/>
                  </a:lnTo>
                  <a:lnTo>
                    <a:pt x="192" y="577"/>
                  </a:lnTo>
                  <a:lnTo>
                    <a:pt x="185" y="576"/>
                  </a:lnTo>
                  <a:lnTo>
                    <a:pt x="178" y="570"/>
                  </a:lnTo>
                  <a:lnTo>
                    <a:pt x="173" y="571"/>
                  </a:lnTo>
                  <a:lnTo>
                    <a:pt x="165" y="572"/>
                  </a:lnTo>
                  <a:lnTo>
                    <a:pt x="159" y="571"/>
                  </a:lnTo>
                  <a:lnTo>
                    <a:pt x="155" y="569"/>
                  </a:lnTo>
                  <a:lnTo>
                    <a:pt x="149" y="576"/>
                  </a:lnTo>
                  <a:lnTo>
                    <a:pt x="148" y="594"/>
                  </a:lnTo>
                  <a:lnTo>
                    <a:pt x="144" y="596"/>
                  </a:lnTo>
                  <a:lnTo>
                    <a:pt x="141" y="589"/>
                  </a:lnTo>
                  <a:lnTo>
                    <a:pt x="138" y="588"/>
                  </a:lnTo>
                  <a:lnTo>
                    <a:pt x="139" y="583"/>
                  </a:lnTo>
                  <a:lnTo>
                    <a:pt x="136" y="581"/>
                  </a:lnTo>
                  <a:lnTo>
                    <a:pt x="132" y="588"/>
                  </a:lnTo>
                  <a:lnTo>
                    <a:pt x="129" y="590"/>
                  </a:lnTo>
                  <a:lnTo>
                    <a:pt x="123" y="586"/>
                  </a:lnTo>
                  <a:lnTo>
                    <a:pt x="121" y="589"/>
                  </a:lnTo>
                  <a:lnTo>
                    <a:pt x="117" y="589"/>
                  </a:lnTo>
                  <a:lnTo>
                    <a:pt x="112" y="586"/>
                  </a:lnTo>
                  <a:lnTo>
                    <a:pt x="101" y="576"/>
                  </a:lnTo>
                  <a:lnTo>
                    <a:pt x="96" y="572"/>
                  </a:lnTo>
                  <a:lnTo>
                    <a:pt x="84" y="572"/>
                  </a:lnTo>
                  <a:lnTo>
                    <a:pt x="76" y="572"/>
                  </a:lnTo>
                  <a:lnTo>
                    <a:pt x="72" y="568"/>
                  </a:lnTo>
                  <a:lnTo>
                    <a:pt x="57" y="558"/>
                  </a:lnTo>
                  <a:lnTo>
                    <a:pt x="54" y="551"/>
                  </a:lnTo>
                  <a:lnTo>
                    <a:pt x="52" y="547"/>
                  </a:lnTo>
                  <a:lnTo>
                    <a:pt x="47" y="542"/>
                  </a:lnTo>
                  <a:lnTo>
                    <a:pt x="35" y="541"/>
                  </a:lnTo>
                  <a:lnTo>
                    <a:pt x="29" y="535"/>
                  </a:lnTo>
                  <a:lnTo>
                    <a:pt x="28" y="527"/>
                  </a:lnTo>
                  <a:lnTo>
                    <a:pt x="25" y="524"/>
                  </a:lnTo>
                  <a:lnTo>
                    <a:pt x="21" y="522"/>
                  </a:lnTo>
                  <a:lnTo>
                    <a:pt x="17" y="521"/>
                  </a:lnTo>
                  <a:lnTo>
                    <a:pt x="0" y="505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1" name="Freeform 19"/>
            <p:cNvSpPr>
              <a:spLocks/>
            </p:cNvSpPr>
            <p:nvPr/>
          </p:nvSpPr>
          <p:spPr bwMode="auto">
            <a:xfrm>
              <a:off x="4783138" y="4630738"/>
              <a:ext cx="158750" cy="95250"/>
            </a:xfrm>
            <a:custGeom>
              <a:avLst/>
              <a:gdLst>
                <a:gd name="T0" fmla="*/ 12970347 w 202"/>
                <a:gd name="T1" fmla="*/ 10891317 h 119"/>
                <a:gd name="T2" fmla="*/ 17911244 w 202"/>
                <a:gd name="T3" fmla="*/ 12813126 h 119"/>
                <a:gd name="T4" fmla="*/ 27793038 w 202"/>
                <a:gd name="T5" fmla="*/ 11532454 h 119"/>
                <a:gd name="T6" fmla="*/ 35822488 w 202"/>
                <a:gd name="T7" fmla="*/ 13454263 h 119"/>
                <a:gd name="T8" fmla="*/ 46321993 w 202"/>
                <a:gd name="T9" fmla="*/ 10250981 h 119"/>
                <a:gd name="T10" fmla="*/ 57439208 w 202"/>
                <a:gd name="T11" fmla="*/ 2562945 h 119"/>
                <a:gd name="T12" fmla="*/ 64850947 w 202"/>
                <a:gd name="T13" fmla="*/ 0 h 119"/>
                <a:gd name="T14" fmla="*/ 65467871 w 202"/>
                <a:gd name="T15" fmla="*/ 8969508 h 119"/>
                <a:gd name="T16" fmla="*/ 72261900 w 202"/>
                <a:gd name="T17" fmla="*/ 9609845 h 119"/>
                <a:gd name="T18" fmla="*/ 76585087 w 202"/>
                <a:gd name="T19" fmla="*/ 11532454 h 119"/>
                <a:gd name="T20" fmla="*/ 83379115 w 202"/>
                <a:gd name="T21" fmla="*/ 14094599 h 119"/>
                <a:gd name="T22" fmla="*/ 87085377 w 202"/>
                <a:gd name="T23" fmla="*/ 15376071 h 119"/>
                <a:gd name="T24" fmla="*/ 92026275 w 202"/>
                <a:gd name="T25" fmla="*/ 21142298 h 119"/>
                <a:gd name="T26" fmla="*/ 98202593 w 202"/>
                <a:gd name="T27" fmla="*/ 23064107 h 119"/>
                <a:gd name="T28" fmla="*/ 98202593 w 202"/>
                <a:gd name="T29" fmla="*/ 30752143 h 119"/>
                <a:gd name="T30" fmla="*/ 98820303 w 202"/>
                <a:gd name="T31" fmla="*/ 35878034 h 119"/>
                <a:gd name="T32" fmla="*/ 107466677 w 202"/>
                <a:gd name="T33" fmla="*/ 33955424 h 119"/>
                <a:gd name="T34" fmla="*/ 113025285 w 202"/>
                <a:gd name="T35" fmla="*/ 36518370 h 119"/>
                <a:gd name="T36" fmla="*/ 115496126 w 202"/>
                <a:gd name="T37" fmla="*/ 44846742 h 119"/>
                <a:gd name="T38" fmla="*/ 120437024 w 202"/>
                <a:gd name="T39" fmla="*/ 44846742 h 119"/>
                <a:gd name="T40" fmla="*/ 124760210 w 202"/>
                <a:gd name="T41" fmla="*/ 48050824 h 119"/>
                <a:gd name="T42" fmla="*/ 121054734 w 202"/>
                <a:gd name="T43" fmla="*/ 57019532 h 119"/>
                <a:gd name="T44" fmla="*/ 114878416 w 202"/>
                <a:gd name="T45" fmla="*/ 57019532 h 119"/>
                <a:gd name="T46" fmla="*/ 107466677 w 202"/>
                <a:gd name="T47" fmla="*/ 56379195 h 119"/>
                <a:gd name="T48" fmla="*/ 100672649 w 202"/>
                <a:gd name="T49" fmla="*/ 58942141 h 119"/>
                <a:gd name="T50" fmla="*/ 100672649 w 202"/>
                <a:gd name="T51" fmla="*/ 64067231 h 119"/>
                <a:gd name="T52" fmla="*/ 95114041 w 202"/>
                <a:gd name="T53" fmla="*/ 69192321 h 119"/>
                <a:gd name="T54" fmla="*/ 91408564 w 202"/>
                <a:gd name="T55" fmla="*/ 71114931 h 119"/>
                <a:gd name="T56" fmla="*/ 85849957 w 202"/>
                <a:gd name="T57" fmla="*/ 67270513 h 119"/>
                <a:gd name="T58" fmla="*/ 83379115 w 202"/>
                <a:gd name="T59" fmla="*/ 63426895 h 119"/>
                <a:gd name="T60" fmla="*/ 75968162 w 202"/>
                <a:gd name="T61" fmla="*/ 67911649 h 119"/>
                <a:gd name="T62" fmla="*/ 67321002 w 202"/>
                <a:gd name="T63" fmla="*/ 76240021 h 119"/>
                <a:gd name="T64" fmla="*/ 59909264 w 202"/>
                <a:gd name="T65" fmla="*/ 73036739 h 119"/>
                <a:gd name="T66" fmla="*/ 54968366 w 202"/>
                <a:gd name="T67" fmla="*/ 71114931 h 119"/>
                <a:gd name="T68" fmla="*/ 46939703 w 202"/>
                <a:gd name="T69" fmla="*/ 64707567 h 119"/>
                <a:gd name="T70" fmla="*/ 39527964 w 202"/>
                <a:gd name="T71" fmla="*/ 53816250 h 119"/>
                <a:gd name="T72" fmla="*/ 35822488 w 202"/>
                <a:gd name="T73" fmla="*/ 49972632 h 119"/>
                <a:gd name="T74" fmla="*/ 30263880 w 202"/>
                <a:gd name="T75" fmla="*/ 39721651 h 119"/>
                <a:gd name="T76" fmla="*/ 26557618 w 202"/>
                <a:gd name="T77" fmla="*/ 34596561 h 119"/>
                <a:gd name="T78" fmla="*/ 24705272 w 202"/>
                <a:gd name="T79" fmla="*/ 32033616 h 119"/>
                <a:gd name="T80" fmla="*/ 9264084 w 202"/>
                <a:gd name="T81" fmla="*/ 33315088 h 119"/>
                <a:gd name="T82" fmla="*/ 5558608 w 202"/>
                <a:gd name="T83" fmla="*/ 26908525 h 119"/>
                <a:gd name="T84" fmla="*/ 3705476 w 202"/>
                <a:gd name="T85" fmla="*/ 20501162 h 11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2"/>
                <a:gd name="T130" fmla="*/ 0 h 119"/>
                <a:gd name="T131" fmla="*/ 202 w 202"/>
                <a:gd name="T132" fmla="*/ 119 h 11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2" h="119">
                  <a:moveTo>
                    <a:pt x="0" y="28"/>
                  </a:moveTo>
                  <a:lnTo>
                    <a:pt x="21" y="17"/>
                  </a:lnTo>
                  <a:lnTo>
                    <a:pt x="25" y="17"/>
                  </a:lnTo>
                  <a:lnTo>
                    <a:pt x="29" y="20"/>
                  </a:lnTo>
                  <a:lnTo>
                    <a:pt x="37" y="21"/>
                  </a:lnTo>
                  <a:lnTo>
                    <a:pt x="45" y="18"/>
                  </a:lnTo>
                  <a:lnTo>
                    <a:pt x="53" y="21"/>
                  </a:lnTo>
                  <a:lnTo>
                    <a:pt x="58" y="21"/>
                  </a:lnTo>
                  <a:lnTo>
                    <a:pt x="70" y="20"/>
                  </a:lnTo>
                  <a:lnTo>
                    <a:pt x="75" y="16"/>
                  </a:lnTo>
                  <a:lnTo>
                    <a:pt x="79" y="12"/>
                  </a:lnTo>
                  <a:lnTo>
                    <a:pt x="93" y="4"/>
                  </a:lnTo>
                  <a:lnTo>
                    <a:pt x="99" y="3"/>
                  </a:lnTo>
                  <a:lnTo>
                    <a:pt x="105" y="0"/>
                  </a:lnTo>
                  <a:lnTo>
                    <a:pt x="101" y="11"/>
                  </a:lnTo>
                  <a:lnTo>
                    <a:pt x="106" y="14"/>
                  </a:lnTo>
                  <a:lnTo>
                    <a:pt x="112" y="14"/>
                  </a:lnTo>
                  <a:lnTo>
                    <a:pt x="117" y="15"/>
                  </a:lnTo>
                  <a:lnTo>
                    <a:pt x="119" y="17"/>
                  </a:lnTo>
                  <a:lnTo>
                    <a:pt x="124" y="18"/>
                  </a:lnTo>
                  <a:lnTo>
                    <a:pt x="127" y="16"/>
                  </a:lnTo>
                  <a:lnTo>
                    <a:pt x="135" y="22"/>
                  </a:lnTo>
                  <a:lnTo>
                    <a:pt x="136" y="24"/>
                  </a:lnTo>
                  <a:lnTo>
                    <a:pt x="141" y="24"/>
                  </a:lnTo>
                  <a:lnTo>
                    <a:pt x="147" y="29"/>
                  </a:lnTo>
                  <a:lnTo>
                    <a:pt x="149" y="33"/>
                  </a:lnTo>
                  <a:lnTo>
                    <a:pt x="155" y="34"/>
                  </a:lnTo>
                  <a:lnTo>
                    <a:pt x="159" y="36"/>
                  </a:lnTo>
                  <a:lnTo>
                    <a:pt x="156" y="45"/>
                  </a:lnTo>
                  <a:lnTo>
                    <a:pt x="159" y="48"/>
                  </a:lnTo>
                  <a:lnTo>
                    <a:pt x="159" y="54"/>
                  </a:lnTo>
                  <a:lnTo>
                    <a:pt x="160" y="56"/>
                  </a:lnTo>
                  <a:lnTo>
                    <a:pt x="167" y="56"/>
                  </a:lnTo>
                  <a:lnTo>
                    <a:pt x="174" y="53"/>
                  </a:lnTo>
                  <a:lnTo>
                    <a:pt x="179" y="54"/>
                  </a:lnTo>
                  <a:lnTo>
                    <a:pt x="183" y="57"/>
                  </a:lnTo>
                  <a:lnTo>
                    <a:pt x="186" y="63"/>
                  </a:lnTo>
                  <a:lnTo>
                    <a:pt x="187" y="70"/>
                  </a:lnTo>
                  <a:lnTo>
                    <a:pt x="191" y="74"/>
                  </a:lnTo>
                  <a:lnTo>
                    <a:pt x="195" y="70"/>
                  </a:lnTo>
                  <a:lnTo>
                    <a:pt x="201" y="72"/>
                  </a:lnTo>
                  <a:lnTo>
                    <a:pt x="202" y="75"/>
                  </a:lnTo>
                  <a:lnTo>
                    <a:pt x="202" y="81"/>
                  </a:lnTo>
                  <a:lnTo>
                    <a:pt x="196" y="89"/>
                  </a:lnTo>
                  <a:lnTo>
                    <a:pt x="192" y="92"/>
                  </a:lnTo>
                  <a:lnTo>
                    <a:pt x="186" y="89"/>
                  </a:lnTo>
                  <a:lnTo>
                    <a:pt x="181" y="89"/>
                  </a:lnTo>
                  <a:lnTo>
                    <a:pt x="174" y="88"/>
                  </a:lnTo>
                  <a:lnTo>
                    <a:pt x="168" y="89"/>
                  </a:lnTo>
                  <a:lnTo>
                    <a:pt x="163" y="92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2"/>
                  </a:lnTo>
                  <a:lnTo>
                    <a:pt x="154" y="108"/>
                  </a:lnTo>
                  <a:lnTo>
                    <a:pt x="151" y="111"/>
                  </a:lnTo>
                  <a:lnTo>
                    <a:pt x="148" y="111"/>
                  </a:lnTo>
                  <a:lnTo>
                    <a:pt x="145" y="107"/>
                  </a:lnTo>
                  <a:lnTo>
                    <a:pt x="139" y="105"/>
                  </a:lnTo>
                  <a:lnTo>
                    <a:pt x="138" y="100"/>
                  </a:lnTo>
                  <a:lnTo>
                    <a:pt x="135" y="99"/>
                  </a:lnTo>
                  <a:lnTo>
                    <a:pt x="125" y="104"/>
                  </a:lnTo>
                  <a:lnTo>
                    <a:pt x="123" y="106"/>
                  </a:lnTo>
                  <a:lnTo>
                    <a:pt x="121" y="111"/>
                  </a:lnTo>
                  <a:lnTo>
                    <a:pt x="109" y="119"/>
                  </a:lnTo>
                  <a:lnTo>
                    <a:pt x="99" y="119"/>
                  </a:lnTo>
                  <a:lnTo>
                    <a:pt x="97" y="114"/>
                  </a:lnTo>
                  <a:lnTo>
                    <a:pt x="95" y="113"/>
                  </a:lnTo>
                  <a:lnTo>
                    <a:pt x="89" y="111"/>
                  </a:lnTo>
                  <a:lnTo>
                    <a:pt x="77" y="104"/>
                  </a:lnTo>
                  <a:lnTo>
                    <a:pt x="76" y="101"/>
                  </a:lnTo>
                  <a:lnTo>
                    <a:pt x="66" y="92"/>
                  </a:lnTo>
                  <a:lnTo>
                    <a:pt x="64" y="84"/>
                  </a:lnTo>
                  <a:lnTo>
                    <a:pt x="63" y="82"/>
                  </a:lnTo>
                  <a:lnTo>
                    <a:pt x="58" y="78"/>
                  </a:lnTo>
                  <a:lnTo>
                    <a:pt x="54" y="75"/>
                  </a:lnTo>
                  <a:lnTo>
                    <a:pt x="49" y="62"/>
                  </a:lnTo>
                  <a:lnTo>
                    <a:pt x="47" y="59"/>
                  </a:lnTo>
                  <a:lnTo>
                    <a:pt x="43" y="54"/>
                  </a:lnTo>
                  <a:lnTo>
                    <a:pt x="42" y="51"/>
                  </a:lnTo>
                  <a:lnTo>
                    <a:pt x="40" y="50"/>
                  </a:lnTo>
                  <a:lnTo>
                    <a:pt x="28" y="56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9" y="42"/>
                  </a:lnTo>
                  <a:lnTo>
                    <a:pt x="9" y="33"/>
                  </a:lnTo>
                  <a:lnTo>
                    <a:pt x="6" y="32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2" name="Freeform 20"/>
            <p:cNvSpPr>
              <a:spLocks/>
            </p:cNvSpPr>
            <p:nvPr/>
          </p:nvSpPr>
          <p:spPr bwMode="auto">
            <a:xfrm>
              <a:off x="4006850" y="2957513"/>
              <a:ext cx="590550" cy="874712"/>
            </a:xfrm>
            <a:custGeom>
              <a:avLst/>
              <a:gdLst>
                <a:gd name="T0" fmla="*/ 442287819 w 744"/>
                <a:gd name="T1" fmla="*/ 277972054 h 1103"/>
                <a:gd name="T2" fmla="*/ 407005631 w 744"/>
                <a:gd name="T3" fmla="*/ 317592622 h 1103"/>
                <a:gd name="T4" fmla="*/ 364162975 w 744"/>
                <a:gd name="T5" fmla="*/ 338346215 h 1103"/>
                <a:gd name="T6" fmla="*/ 361012581 w 744"/>
                <a:gd name="T7" fmla="*/ 365388535 h 1103"/>
                <a:gd name="T8" fmla="*/ 369203288 w 744"/>
                <a:gd name="T9" fmla="*/ 355326571 h 1103"/>
                <a:gd name="T10" fmla="*/ 390624219 w 744"/>
                <a:gd name="T11" fmla="*/ 399978121 h 1103"/>
                <a:gd name="T12" fmla="*/ 364792419 w 744"/>
                <a:gd name="T13" fmla="*/ 414442987 h 1103"/>
                <a:gd name="T14" fmla="*/ 342111013 w 744"/>
                <a:gd name="T15" fmla="*/ 427020441 h 1103"/>
                <a:gd name="T16" fmla="*/ 326360631 w 744"/>
                <a:gd name="T17" fmla="*/ 475446020 h 1103"/>
                <a:gd name="T18" fmla="*/ 345891644 w 744"/>
                <a:gd name="T19" fmla="*/ 508148195 h 1103"/>
                <a:gd name="T20" fmla="*/ 355342031 w 744"/>
                <a:gd name="T21" fmla="*/ 535190515 h 1103"/>
                <a:gd name="T22" fmla="*/ 381173831 w 744"/>
                <a:gd name="T23" fmla="*/ 555944108 h 1103"/>
                <a:gd name="T24" fmla="*/ 383063750 w 744"/>
                <a:gd name="T25" fmla="*/ 565377992 h 1103"/>
                <a:gd name="T26" fmla="*/ 399445163 w 744"/>
                <a:gd name="T27" fmla="*/ 588018203 h 1103"/>
                <a:gd name="T28" fmla="*/ 427166881 w 744"/>
                <a:gd name="T29" fmla="*/ 599338705 h 1103"/>
                <a:gd name="T30" fmla="*/ 406375394 w 744"/>
                <a:gd name="T31" fmla="*/ 607514051 h 1103"/>
                <a:gd name="T32" fmla="*/ 357862188 w 744"/>
                <a:gd name="T33" fmla="*/ 613802778 h 1103"/>
                <a:gd name="T34" fmla="*/ 364792419 w 744"/>
                <a:gd name="T35" fmla="*/ 645876873 h 1103"/>
                <a:gd name="T36" fmla="*/ 362272263 w 744"/>
                <a:gd name="T37" fmla="*/ 669145957 h 1103"/>
                <a:gd name="T38" fmla="*/ 361642819 w 744"/>
                <a:gd name="T39" fmla="*/ 690528422 h 1103"/>
                <a:gd name="T40" fmla="*/ 353452113 w 744"/>
                <a:gd name="T41" fmla="*/ 687384059 h 1103"/>
                <a:gd name="T42" fmla="*/ 336441256 w 744"/>
                <a:gd name="T43" fmla="*/ 690528422 h 1103"/>
                <a:gd name="T44" fmla="*/ 304308669 w 744"/>
                <a:gd name="T45" fmla="*/ 655938836 h 1103"/>
                <a:gd name="T46" fmla="*/ 280997819 w 744"/>
                <a:gd name="T47" fmla="*/ 662857229 h 1103"/>
                <a:gd name="T48" fmla="*/ 269656719 w 744"/>
                <a:gd name="T49" fmla="*/ 653423346 h 1103"/>
                <a:gd name="T50" fmla="*/ 267136563 w 744"/>
                <a:gd name="T51" fmla="*/ 642732509 h 1103"/>
                <a:gd name="T52" fmla="*/ 255796256 w 744"/>
                <a:gd name="T53" fmla="*/ 644619127 h 1103"/>
                <a:gd name="T54" fmla="*/ 238155163 w 744"/>
                <a:gd name="T55" fmla="*/ 633298625 h 1103"/>
                <a:gd name="T56" fmla="*/ 209172969 w 744"/>
                <a:gd name="T57" fmla="*/ 623865534 h 1103"/>
                <a:gd name="T58" fmla="*/ 144909381 w 744"/>
                <a:gd name="T59" fmla="*/ 623865534 h 1103"/>
                <a:gd name="T60" fmla="*/ 131678363 w 744"/>
                <a:gd name="T61" fmla="*/ 651536727 h 1103"/>
                <a:gd name="T62" fmla="*/ 111517113 w 744"/>
                <a:gd name="T63" fmla="*/ 665372720 h 1103"/>
                <a:gd name="T64" fmla="*/ 76865163 w 744"/>
                <a:gd name="T65" fmla="*/ 664114975 h 1103"/>
                <a:gd name="T66" fmla="*/ 59224069 w 744"/>
                <a:gd name="T67" fmla="*/ 635185243 h 1103"/>
                <a:gd name="T68" fmla="*/ 40952738 w 744"/>
                <a:gd name="T69" fmla="*/ 611916160 h 1103"/>
                <a:gd name="T70" fmla="*/ 44732575 w 744"/>
                <a:gd name="T71" fmla="*/ 594935803 h 1103"/>
                <a:gd name="T72" fmla="*/ 47252731 w 744"/>
                <a:gd name="T73" fmla="*/ 577326574 h 1103"/>
                <a:gd name="T74" fmla="*/ 54183756 w 744"/>
                <a:gd name="T75" fmla="*/ 549655381 h 1103"/>
                <a:gd name="T76" fmla="*/ 59853513 w 744"/>
                <a:gd name="T77" fmla="*/ 518210951 h 1103"/>
                <a:gd name="T78" fmla="*/ 50403125 w 744"/>
                <a:gd name="T79" fmla="*/ 442743052 h 1103"/>
                <a:gd name="T80" fmla="*/ 5670550 w 744"/>
                <a:gd name="T81" fmla="*/ 303127756 h 1103"/>
                <a:gd name="T82" fmla="*/ 126638050 w 744"/>
                <a:gd name="T83" fmla="*/ 79870008 h 1103"/>
                <a:gd name="T84" fmla="*/ 192162113 w 744"/>
                <a:gd name="T85" fmla="*/ 0 h 1103"/>
                <a:gd name="T86" fmla="*/ 230594694 w 744"/>
                <a:gd name="T87" fmla="*/ 8804218 h 1103"/>
                <a:gd name="T88" fmla="*/ 292968363 w 744"/>
                <a:gd name="T89" fmla="*/ 17609229 h 1103"/>
                <a:gd name="T90" fmla="*/ 321320319 w 744"/>
                <a:gd name="T91" fmla="*/ 48424786 h 1103"/>
                <a:gd name="T92" fmla="*/ 364162975 w 744"/>
                <a:gd name="T93" fmla="*/ 84272117 h 1103"/>
                <a:gd name="T94" fmla="*/ 415825781 w 744"/>
                <a:gd name="T95" fmla="*/ 180493609 h 1103"/>
                <a:gd name="T96" fmla="*/ 454888600 w 744"/>
                <a:gd name="T97" fmla="*/ 244641006 h 110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44"/>
                <a:gd name="T148" fmla="*/ 0 h 1103"/>
                <a:gd name="T149" fmla="*/ 744 w 744"/>
                <a:gd name="T150" fmla="*/ 1103 h 110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44" h="1103">
                  <a:moveTo>
                    <a:pt x="744" y="421"/>
                  </a:moveTo>
                  <a:lnTo>
                    <a:pt x="730" y="438"/>
                  </a:lnTo>
                  <a:lnTo>
                    <a:pt x="720" y="454"/>
                  </a:lnTo>
                  <a:lnTo>
                    <a:pt x="702" y="442"/>
                  </a:lnTo>
                  <a:lnTo>
                    <a:pt x="689" y="430"/>
                  </a:lnTo>
                  <a:lnTo>
                    <a:pt x="660" y="440"/>
                  </a:lnTo>
                  <a:lnTo>
                    <a:pt x="650" y="481"/>
                  </a:lnTo>
                  <a:lnTo>
                    <a:pt x="646" y="505"/>
                  </a:lnTo>
                  <a:lnTo>
                    <a:pt x="618" y="515"/>
                  </a:lnTo>
                  <a:lnTo>
                    <a:pt x="594" y="517"/>
                  </a:lnTo>
                  <a:lnTo>
                    <a:pt x="587" y="522"/>
                  </a:lnTo>
                  <a:lnTo>
                    <a:pt x="578" y="538"/>
                  </a:lnTo>
                  <a:lnTo>
                    <a:pt x="562" y="545"/>
                  </a:lnTo>
                  <a:lnTo>
                    <a:pt x="561" y="552"/>
                  </a:lnTo>
                  <a:lnTo>
                    <a:pt x="563" y="582"/>
                  </a:lnTo>
                  <a:lnTo>
                    <a:pt x="573" y="581"/>
                  </a:lnTo>
                  <a:lnTo>
                    <a:pt x="579" y="584"/>
                  </a:lnTo>
                  <a:lnTo>
                    <a:pt x="585" y="578"/>
                  </a:lnTo>
                  <a:lnTo>
                    <a:pt x="585" y="566"/>
                  </a:lnTo>
                  <a:lnTo>
                    <a:pt x="586" y="565"/>
                  </a:lnTo>
                  <a:lnTo>
                    <a:pt x="603" y="575"/>
                  </a:lnTo>
                  <a:lnTo>
                    <a:pt x="610" y="574"/>
                  </a:lnTo>
                  <a:lnTo>
                    <a:pt x="617" y="580"/>
                  </a:lnTo>
                  <a:lnTo>
                    <a:pt x="620" y="636"/>
                  </a:lnTo>
                  <a:lnTo>
                    <a:pt x="611" y="641"/>
                  </a:lnTo>
                  <a:lnTo>
                    <a:pt x="604" y="665"/>
                  </a:lnTo>
                  <a:lnTo>
                    <a:pt x="594" y="670"/>
                  </a:lnTo>
                  <a:lnTo>
                    <a:pt x="579" y="659"/>
                  </a:lnTo>
                  <a:lnTo>
                    <a:pt x="568" y="660"/>
                  </a:lnTo>
                  <a:lnTo>
                    <a:pt x="564" y="665"/>
                  </a:lnTo>
                  <a:lnTo>
                    <a:pt x="556" y="672"/>
                  </a:lnTo>
                  <a:lnTo>
                    <a:pt x="543" y="679"/>
                  </a:lnTo>
                  <a:lnTo>
                    <a:pt x="513" y="713"/>
                  </a:lnTo>
                  <a:lnTo>
                    <a:pt x="498" y="722"/>
                  </a:lnTo>
                  <a:lnTo>
                    <a:pt x="508" y="743"/>
                  </a:lnTo>
                  <a:lnTo>
                    <a:pt x="518" y="756"/>
                  </a:lnTo>
                  <a:lnTo>
                    <a:pt x="520" y="768"/>
                  </a:lnTo>
                  <a:lnTo>
                    <a:pt x="543" y="774"/>
                  </a:lnTo>
                  <a:lnTo>
                    <a:pt x="551" y="798"/>
                  </a:lnTo>
                  <a:lnTo>
                    <a:pt x="549" y="808"/>
                  </a:lnTo>
                  <a:lnTo>
                    <a:pt x="561" y="814"/>
                  </a:lnTo>
                  <a:lnTo>
                    <a:pt x="552" y="842"/>
                  </a:lnTo>
                  <a:lnTo>
                    <a:pt x="555" y="845"/>
                  </a:lnTo>
                  <a:lnTo>
                    <a:pt x="564" y="851"/>
                  </a:lnTo>
                  <a:lnTo>
                    <a:pt x="566" y="854"/>
                  </a:lnTo>
                  <a:lnTo>
                    <a:pt x="584" y="876"/>
                  </a:lnTo>
                  <a:lnTo>
                    <a:pt x="602" y="887"/>
                  </a:lnTo>
                  <a:lnTo>
                    <a:pt x="605" y="884"/>
                  </a:lnTo>
                  <a:lnTo>
                    <a:pt x="612" y="887"/>
                  </a:lnTo>
                  <a:lnTo>
                    <a:pt x="620" y="895"/>
                  </a:lnTo>
                  <a:lnTo>
                    <a:pt x="621" y="900"/>
                  </a:lnTo>
                  <a:lnTo>
                    <a:pt x="608" y="899"/>
                  </a:lnTo>
                  <a:lnTo>
                    <a:pt x="604" y="908"/>
                  </a:lnTo>
                  <a:lnTo>
                    <a:pt x="609" y="913"/>
                  </a:lnTo>
                  <a:lnTo>
                    <a:pt x="636" y="925"/>
                  </a:lnTo>
                  <a:lnTo>
                    <a:pt x="634" y="935"/>
                  </a:lnTo>
                  <a:lnTo>
                    <a:pt x="662" y="941"/>
                  </a:lnTo>
                  <a:lnTo>
                    <a:pt x="668" y="940"/>
                  </a:lnTo>
                  <a:lnTo>
                    <a:pt x="680" y="947"/>
                  </a:lnTo>
                  <a:lnTo>
                    <a:pt x="678" y="953"/>
                  </a:lnTo>
                  <a:lnTo>
                    <a:pt x="671" y="962"/>
                  </a:lnTo>
                  <a:lnTo>
                    <a:pt x="654" y="965"/>
                  </a:lnTo>
                  <a:lnTo>
                    <a:pt x="647" y="965"/>
                  </a:lnTo>
                  <a:lnTo>
                    <a:pt x="645" y="966"/>
                  </a:lnTo>
                  <a:lnTo>
                    <a:pt x="617" y="962"/>
                  </a:lnTo>
                  <a:lnTo>
                    <a:pt x="603" y="954"/>
                  </a:lnTo>
                  <a:lnTo>
                    <a:pt x="578" y="967"/>
                  </a:lnTo>
                  <a:lnTo>
                    <a:pt x="568" y="976"/>
                  </a:lnTo>
                  <a:lnTo>
                    <a:pt x="566" y="990"/>
                  </a:lnTo>
                  <a:lnTo>
                    <a:pt x="567" y="1008"/>
                  </a:lnTo>
                  <a:lnTo>
                    <a:pt x="580" y="1013"/>
                  </a:lnTo>
                  <a:lnTo>
                    <a:pt x="579" y="1027"/>
                  </a:lnTo>
                  <a:lnTo>
                    <a:pt x="573" y="1033"/>
                  </a:lnTo>
                  <a:lnTo>
                    <a:pt x="569" y="1039"/>
                  </a:lnTo>
                  <a:lnTo>
                    <a:pt x="568" y="1045"/>
                  </a:lnTo>
                  <a:lnTo>
                    <a:pt x="575" y="1064"/>
                  </a:lnTo>
                  <a:lnTo>
                    <a:pt x="575" y="1072"/>
                  </a:lnTo>
                  <a:lnTo>
                    <a:pt x="576" y="1079"/>
                  </a:lnTo>
                  <a:lnTo>
                    <a:pt x="578" y="1085"/>
                  </a:lnTo>
                  <a:lnTo>
                    <a:pt x="574" y="1098"/>
                  </a:lnTo>
                  <a:lnTo>
                    <a:pt x="568" y="1103"/>
                  </a:lnTo>
                  <a:lnTo>
                    <a:pt x="567" y="1100"/>
                  </a:lnTo>
                  <a:lnTo>
                    <a:pt x="564" y="1097"/>
                  </a:lnTo>
                  <a:lnTo>
                    <a:pt x="561" y="1093"/>
                  </a:lnTo>
                  <a:lnTo>
                    <a:pt x="557" y="1090"/>
                  </a:lnTo>
                  <a:lnTo>
                    <a:pt x="550" y="1093"/>
                  </a:lnTo>
                  <a:lnTo>
                    <a:pt x="545" y="1099"/>
                  </a:lnTo>
                  <a:lnTo>
                    <a:pt x="534" y="1098"/>
                  </a:lnTo>
                  <a:lnTo>
                    <a:pt x="518" y="1087"/>
                  </a:lnTo>
                  <a:lnTo>
                    <a:pt x="500" y="1060"/>
                  </a:lnTo>
                  <a:lnTo>
                    <a:pt x="486" y="1043"/>
                  </a:lnTo>
                  <a:lnTo>
                    <a:pt x="483" y="1043"/>
                  </a:lnTo>
                  <a:lnTo>
                    <a:pt x="478" y="1044"/>
                  </a:lnTo>
                  <a:lnTo>
                    <a:pt x="459" y="1046"/>
                  </a:lnTo>
                  <a:lnTo>
                    <a:pt x="452" y="1048"/>
                  </a:lnTo>
                  <a:lnTo>
                    <a:pt x="446" y="1054"/>
                  </a:lnTo>
                  <a:lnTo>
                    <a:pt x="438" y="1051"/>
                  </a:lnTo>
                  <a:lnTo>
                    <a:pt x="434" y="1050"/>
                  </a:lnTo>
                  <a:lnTo>
                    <a:pt x="429" y="1045"/>
                  </a:lnTo>
                  <a:lnTo>
                    <a:pt x="428" y="1039"/>
                  </a:lnTo>
                  <a:lnTo>
                    <a:pt x="428" y="1032"/>
                  </a:lnTo>
                  <a:lnTo>
                    <a:pt x="425" y="1030"/>
                  </a:lnTo>
                  <a:lnTo>
                    <a:pt x="425" y="1025"/>
                  </a:lnTo>
                  <a:lnTo>
                    <a:pt x="424" y="1022"/>
                  </a:lnTo>
                  <a:lnTo>
                    <a:pt x="417" y="1026"/>
                  </a:lnTo>
                  <a:lnTo>
                    <a:pt x="411" y="1027"/>
                  </a:lnTo>
                  <a:lnTo>
                    <a:pt x="408" y="1027"/>
                  </a:lnTo>
                  <a:lnTo>
                    <a:pt x="406" y="1025"/>
                  </a:lnTo>
                  <a:lnTo>
                    <a:pt x="402" y="1016"/>
                  </a:lnTo>
                  <a:lnTo>
                    <a:pt x="401" y="1012"/>
                  </a:lnTo>
                  <a:lnTo>
                    <a:pt x="392" y="1007"/>
                  </a:lnTo>
                  <a:lnTo>
                    <a:pt x="378" y="1007"/>
                  </a:lnTo>
                  <a:lnTo>
                    <a:pt x="359" y="997"/>
                  </a:lnTo>
                  <a:lnTo>
                    <a:pt x="351" y="998"/>
                  </a:lnTo>
                  <a:lnTo>
                    <a:pt x="342" y="995"/>
                  </a:lnTo>
                  <a:lnTo>
                    <a:pt x="332" y="992"/>
                  </a:lnTo>
                  <a:lnTo>
                    <a:pt x="318" y="989"/>
                  </a:lnTo>
                  <a:lnTo>
                    <a:pt x="291" y="983"/>
                  </a:lnTo>
                  <a:lnTo>
                    <a:pt x="240" y="990"/>
                  </a:lnTo>
                  <a:lnTo>
                    <a:pt x="230" y="992"/>
                  </a:lnTo>
                  <a:lnTo>
                    <a:pt x="222" y="996"/>
                  </a:lnTo>
                  <a:lnTo>
                    <a:pt x="214" y="1014"/>
                  </a:lnTo>
                  <a:lnTo>
                    <a:pt x="214" y="1020"/>
                  </a:lnTo>
                  <a:lnTo>
                    <a:pt x="209" y="1036"/>
                  </a:lnTo>
                  <a:lnTo>
                    <a:pt x="200" y="1054"/>
                  </a:lnTo>
                  <a:lnTo>
                    <a:pt x="190" y="1068"/>
                  </a:lnTo>
                  <a:lnTo>
                    <a:pt x="185" y="1060"/>
                  </a:lnTo>
                  <a:lnTo>
                    <a:pt x="177" y="1058"/>
                  </a:lnTo>
                  <a:lnTo>
                    <a:pt x="164" y="1051"/>
                  </a:lnTo>
                  <a:lnTo>
                    <a:pt x="150" y="1055"/>
                  </a:lnTo>
                  <a:lnTo>
                    <a:pt x="126" y="1055"/>
                  </a:lnTo>
                  <a:lnTo>
                    <a:pt x="122" y="1056"/>
                  </a:lnTo>
                  <a:lnTo>
                    <a:pt x="120" y="1051"/>
                  </a:lnTo>
                  <a:lnTo>
                    <a:pt x="107" y="1039"/>
                  </a:lnTo>
                  <a:lnTo>
                    <a:pt x="99" y="1018"/>
                  </a:lnTo>
                  <a:lnTo>
                    <a:pt x="94" y="1010"/>
                  </a:lnTo>
                  <a:lnTo>
                    <a:pt x="89" y="1000"/>
                  </a:lnTo>
                  <a:lnTo>
                    <a:pt x="81" y="991"/>
                  </a:lnTo>
                  <a:lnTo>
                    <a:pt x="71" y="979"/>
                  </a:lnTo>
                  <a:lnTo>
                    <a:pt x="65" y="973"/>
                  </a:lnTo>
                  <a:lnTo>
                    <a:pt x="63" y="967"/>
                  </a:lnTo>
                  <a:lnTo>
                    <a:pt x="63" y="960"/>
                  </a:lnTo>
                  <a:lnTo>
                    <a:pt x="65" y="953"/>
                  </a:lnTo>
                  <a:lnTo>
                    <a:pt x="71" y="946"/>
                  </a:lnTo>
                  <a:lnTo>
                    <a:pt x="82" y="946"/>
                  </a:lnTo>
                  <a:lnTo>
                    <a:pt x="87" y="946"/>
                  </a:lnTo>
                  <a:lnTo>
                    <a:pt x="87" y="938"/>
                  </a:lnTo>
                  <a:lnTo>
                    <a:pt x="75" y="918"/>
                  </a:lnTo>
                  <a:lnTo>
                    <a:pt x="72" y="917"/>
                  </a:lnTo>
                  <a:lnTo>
                    <a:pt x="70" y="912"/>
                  </a:lnTo>
                  <a:lnTo>
                    <a:pt x="70" y="906"/>
                  </a:lnTo>
                  <a:lnTo>
                    <a:pt x="86" y="874"/>
                  </a:lnTo>
                  <a:lnTo>
                    <a:pt x="93" y="864"/>
                  </a:lnTo>
                  <a:lnTo>
                    <a:pt x="99" y="852"/>
                  </a:lnTo>
                  <a:lnTo>
                    <a:pt x="95" y="839"/>
                  </a:lnTo>
                  <a:lnTo>
                    <a:pt x="95" y="824"/>
                  </a:lnTo>
                  <a:lnTo>
                    <a:pt x="94" y="794"/>
                  </a:lnTo>
                  <a:lnTo>
                    <a:pt x="106" y="762"/>
                  </a:lnTo>
                  <a:lnTo>
                    <a:pt x="107" y="746"/>
                  </a:lnTo>
                  <a:lnTo>
                    <a:pt x="80" y="704"/>
                  </a:lnTo>
                  <a:lnTo>
                    <a:pt x="70" y="689"/>
                  </a:lnTo>
                  <a:lnTo>
                    <a:pt x="53" y="676"/>
                  </a:lnTo>
                  <a:lnTo>
                    <a:pt x="50" y="648"/>
                  </a:lnTo>
                  <a:lnTo>
                    <a:pt x="9" y="482"/>
                  </a:lnTo>
                  <a:lnTo>
                    <a:pt x="0" y="436"/>
                  </a:lnTo>
                  <a:lnTo>
                    <a:pt x="153" y="184"/>
                  </a:lnTo>
                  <a:lnTo>
                    <a:pt x="164" y="164"/>
                  </a:lnTo>
                  <a:lnTo>
                    <a:pt x="201" y="127"/>
                  </a:lnTo>
                  <a:lnTo>
                    <a:pt x="225" y="56"/>
                  </a:lnTo>
                  <a:lnTo>
                    <a:pt x="255" y="25"/>
                  </a:lnTo>
                  <a:lnTo>
                    <a:pt x="266" y="26"/>
                  </a:lnTo>
                  <a:lnTo>
                    <a:pt x="305" y="0"/>
                  </a:lnTo>
                  <a:lnTo>
                    <a:pt x="354" y="19"/>
                  </a:lnTo>
                  <a:lnTo>
                    <a:pt x="356" y="16"/>
                  </a:lnTo>
                  <a:lnTo>
                    <a:pt x="365" y="18"/>
                  </a:lnTo>
                  <a:lnTo>
                    <a:pt x="366" y="14"/>
                  </a:lnTo>
                  <a:lnTo>
                    <a:pt x="406" y="22"/>
                  </a:lnTo>
                  <a:lnTo>
                    <a:pt x="446" y="22"/>
                  </a:lnTo>
                  <a:lnTo>
                    <a:pt x="446" y="26"/>
                  </a:lnTo>
                  <a:lnTo>
                    <a:pt x="465" y="28"/>
                  </a:lnTo>
                  <a:lnTo>
                    <a:pt x="486" y="54"/>
                  </a:lnTo>
                  <a:lnTo>
                    <a:pt x="492" y="54"/>
                  </a:lnTo>
                  <a:lnTo>
                    <a:pt x="497" y="76"/>
                  </a:lnTo>
                  <a:lnTo>
                    <a:pt x="510" y="77"/>
                  </a:lnTo>
                  <a:lnTo>
                    <a:pt x="516" y="85"/>
                  </a:lnTo>
                  <a:lnTo>
                    <a:pt x="531" y="89"/>
                  </a:lnTo>
                  <a:lnTo>
                    <a:pt x="539" y="106"/>
                  </a:lnTo>
                  <a:lnTo>
                    <a:pt x="578" y="134"/>
                  </a:lnTo>
                  <a:lnTo>
                    <a:pt x="582" y="149"/>
                  </a:lnTo>
                  <a:lnTo>
                    <a:pt x="602" y="167"/>
                  </a:lnTo>
                  <a:lnTo>
                    <a:pt x="612" y="205"/>
                  </a:lnTo>
                  <a:lnTo>
                    <a:pt x="660" y="287"/>
                  </a:lnTo>
                  <a:lnTo>
                    <a:pt x="657" y="290"/>
                  </a:lnTo>
                  <a:lnTo>
                    <a:pt x="674" y="338"/>
                  </a:lnTo>
                  <a:lnTo>
                    <a:pt x="683" y="349"/>
                  </a:lnTo>
                  <a:lnTo>
                    <a:pt x="722" y="389"/>
                  </a:lnTo>
                  <a:lnTo>
                    <a:pt x="744" y="421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3" name="Freeform 21"/>
            <p:cNvSpPr>
              <a:spLocks/>
            </p:cNvSpPr>
            <p:nvPr/>
          </p:nvSpPr>
          <p:spPr bwMode="auto">
            <a:xfrm>
              <a:off x="4402138" y="3292475"/>
              <a:ext cx="406400" cy="766763"/>
            </a:xfrm>
            <a:custGeom>
              <a:avLst/>
              <a:gdLst>
                <a:gd name="T0" fmla="*/ 36542663 w 512"/>
                <a:gd name="T1" fmla="*/ 158139709 h 966"/>
                <a:gd name="T2" fmla="*/ 60483750 w 512"/>
                <a:gd name="T3" fmla="*/ 156880027 h 966"/>
                <a:gd name="T4" fmla="*/ 74974450 w 512"/>
                <a:gd name="T5" fmla="*/ 100176078 h 966"/>
                <a:gd name="T6" fmla="*/ 54813200 w 512"/>
                <a:gd name="T7" fmla="*/ 91355922 h 966"/>
                <a:gd name="T8" fmla="*/ 40952738 w 512"/>
                <a:gd name="T9" fmla="*/ 101436554 h 966"/>
                <a:gd name="T10" fmla="*/ 56073675 w 512"/>
                <a:gd name="T11" fmla="*/ 63634185 h 966"/>
                <a:gd name="T12" fmla="*/ 95765938 w 512"/>
                <a:gd name="T13" fmla="*/ 37802368 h 966"/>
                <a:gd name="T14" fmla="*/ 139869069 w 512"/>
                <a:gd name="T15" fmla="*/ 20791501 h 966"/>
                <a:gd name="T16" fmla="*/ 150579138 w 512"/>
                <a:gd name="T17" fmla="*/ 34651973 h 966"/>
                <a:gd name="T18" fmla="*/ 173890781 w 512"/>
                <a:gd name="T19" fmla="*/ 90095446 h 966"/>
                <a:gd name="T20" fmla="*/ 176410938 w 512"/>
                <a:gd name="T21" fmla="*/ 104586949 h 966"/>
                <a:gd name="T22" fmla="*/ 182711725 w 512"/>
                <a:gd name="T23" fmla="*/ 124117975 h 966"/>
                <a:gd name="T24" fmla="*/ 178931094 w 512"/>
                <a:gd name="T25" fmla="*/ 149949792 h 966"/>
                <a:gd name="T26" fmla="*/ 203502419 w 512"/>
                <a:gd name="T27" fmla="*/ 168220341 h 966"/>
                <a:gd name="T28" fmla="*/ 216733438 w 512"/>
                <a:gd name="T29" fmla="*/ 196572316 h 966"/>
                <a:gd name="T30" fmla="*/ 233744294 w 512"/>
                <a:gd name="T31" fmla="*/ 213583183 h 966"/>
                <a:gd name="T32" fmla="*/ 264616406 w 512"/>
                <a:gd name="T33" fmla="*/ 240045238 h 966"/>
                <a:gd name="T34" fmla="*/ 279107106 w 512"/>
                <a:gd name="T35" fmla="*/ 233115002 h 966"/>
                <a:gd name="T36" fmla="*/ 302418750 w 512"/>
                <a:gd name="T37" fmla="*/ 245085554 h 966"/>
                <a:gd name="T38" fmla="*/ 322580000 w 512"/>
                <a:gd name="T39" fmla="*/ 305569343 h 966"/>
                <a:gd name="T40" fmla="*/ 262726488 w 512"/>
                <a:gd name="T41" fmla="*/ 359753135 h 966"/>
                <a:gd name="T42" fmla="*/ 241935000 w 512"/>
                <a:gd name="T43" fmla="*/ 362902737 h 966"/>
                <a:gd name="T44" fmla="*/ 236264450 w 512"/>
                <a:gd name="T45" fmla="*/ 382434556 h 966"/>
                <a:gd name="T46" fmla="*/ 235635006 w 512"/>
                <a:gd name="T47" fmla="*/ 396925265 h 966"/>
                <a:gd name="T48" fmla="*/ 207913288 w 512"/>
                <a:gd name="T49" fmla="*/ 408895817 h 966"/>
                <a:gd name="T50" fmla="*/ 194682269 w 512"/>
                <a:gd name="T51" fmla="*/ 420236924 h 966"/>
                <a:gd name="T52" fmla="*/ 175780700 w 512"/>
                <a:gd name="T53" fmla="*/ 425906684 h 966"/>
                <a:gd name="T54" fmla="*/ 187121800 w 512"/>
                <a:gd name="T55" fmla="*/ 446067947 h 966"/>
                <a:gd name="T56" fmla="*/ 184601644 w 512"/>
                <a:gd name="T57" fmla="*/ 484500553 h 966"/>
                <a:gd name="T58" fmla="*/ 199092344 w 512"/>
                <a:gd name="T59" fmla="*/ 504661817 h 966"/>
                <a:gd name="T60" fmla="*/ 203502419 w 512"/>
                <a:gd name="T61" fmla="*/ 512852528 h 966"/>
                <a:gd name="T62" fmla="*/ 180191569 w 512"/>
                <a:gd name="T63" fmla="*/ 536164187 h 966"/>
                <a:gd name="T64" fmla="*/ 161290000 w 512"/>
                <a:gd name="T65" fmla="*/ 533644029 h 966"/>
                <a:gd name="T66" fmla="*/ 148689219 w 512"/>
                <a:gd name="T67" fmla="*/ 551914579 h 966"/>
                <a:gd name="T68" fmla="*/ 133568281 w 512"/>
                <a:gd name="T69" fmla="*/ 581527029 h 966"/>
                <a:gd name="T70" fmla="*/ 131048125 w 512"/>
                <a:gd name="T71" fmla="*/ 599168134 h 966"/>
                <a:gd name="T72" fmla="*/ 103956644 w 512"/>
                <a:gd name="T73" fmla="*/ 608618528 h 966"/>
                <a:gd name="T74" fmla="*/ 79385319 w 512"/>
                <a:gd name="T75" fmla="*/ 527973476 h 966"/>
                <a:gd name="T76" fmla="*/ 64264381 w 512"/>
                <a:gd name="T77" fmla="*/ 481980396 h 966"/>
                <a:gd name="T78" fmla="*/ 51033363 w 512"/>
                <a:gd name="T79" fmla="*/ 437247791 h 966"/>
                <a:gd name="T80" fmla="*/ 49143444 w 512"/>
                <a:gd name="T81" fmla="*/ 414566370 h 966"/>
                <a:gd name="T82" fmla="*/ 44732575 w 512"/>
                <a:gd name="T83" fmla="*/ 389364791 h 966"/>
                <a:gd name="T84" fmla="*/ 43472894 w 512"/>
                <a:gd name="T85" fmla="*/ 369833766 h 966"/>
                <a:gd name="T86" fmla="*/ 66154300 w 512"/>
                <a:gd name="T87" fmla="*/ 335811238 h 966"/>
                <a:gd name="T88" fmla="*/ 98286094 w 512"/>
                <a:gd name="T89" fmla="*/ 342741473 h 966"/>
                <a:gd name="T90" fmla="*/ 107107038 w 512"/>
                <a:gd name="T91" fmla="*/ 326991082 h 966"/>
                <a:gd name="T92" fmla="*/ 69934138 w 512"/>
                <a:gd name="T93" fmla="*/ 309979421 h 966"/>
                <a:gd name="T94" fmla="*/ 76865163 w 512"/>
                <a:gd name="T95" fmla="*/ 298639107 h 966"/>
                <a:gd name="T96" fmla="*/ 54183756 w 512"/>
                <a:gd name="T97" fmla="*/ 286667762 h 966"/>
                <a:gd name="T98" fmla="*/ 34022506 w 512"/>
                <a:gd name="T99" fmla="*/ 265246817 h 966"/>
                <a:gd name="T100" fmla="*/ 28351956 w 512"/>
                <a:gd name="T101" fmla="*/ 222404133 h 966"/>
                <a:gd name="T102" fmla="*/ 0 w 512"/>
                <a:gd name="T103" fmla="*/ 189642080 h 9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12"/>
                <a:gd name="T157" fmla="*/ 0 h 966"/>
                <a:gd name="T158" fmla="*/ 512 w 512"/>
                <a:gd name="T159" fmla="*/ 966 h 9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12" h="966">
                  <a:moveTo>
                    <a:pt x="0" y="301"/>
                  </a:moveTo>
                  <a:lnTo>
                    <a:pt x="15" y="292"/>
                  </a:lnTo>
                  <a:lnTo>
                    <a:pt x="45" y="258"/>
                  </a:lnTo>
                  <a:lnTo>
                    <a:pt x="58" y="251"/>
                  </a:lnTo>
                  <a:lnTo>
                    <a:pt x="66" y="244"/>
                  </a:lnTo>
                  <a:lnTo>
                    <a:pt x="70" y="239"/>
                  </a:lnTo>
                  <a:lnTo>
                    <a:pt x="81" y="238"/>
                  </a:lnTo>
                  <a:lnTo>
                    <a:pt x="96" y="249"/>
                  </a:lnTo>
                  <a:lnTo>
                    <a:pt x="106" y="244"/>
                  </a:lnTo>
                  <a:lnTo>
                    <a:pt x="113" y="220"/>
                  </a:lnTo>
                  <a:lnTo>
                    <a:pt x="122" y="215"/>
                  </a:lnTo>
                  <a:lnTo>
                    <a:pt x="119" y="159"/>
                  </a:lnTo>
                  <a:lnTo>
                    <a:pt x="112" y="153"/>
                  </a:lnTo>
                  <a:lnTo>
                    <a:pt x="105" y="154"/>
                  </a:lnTo>
                  <a:lnTo>
                    <a:pt x="88" y="144"/>
                  </a:lnTo>
                  <a:lnTo>
                    <a:pt x="87" y="145"/>
                  </a:lnTo>
                  <a:lnTo>
                    <a:pt x="87" y="157"/>
                  </a:lnTo>
                  <a:lnTo>
                    <a:pt x="81" y="163"/>
                  </a:lnTo>
                  <a:lnTo>
                    <a:pt x="75" y="160"/>
                  </a:lnTo>
                  <a:lnTo>
                    <a:pt x="65" y="161"/>
                  </a:lnTo>
                  <a:lnTo>
                    <a:pt x="63" y="131"/>
                  </a:lnTo>
                  <a:lnTo>
                    <a:pt x="64" y="124"/>
                  </a:lnTo>
                  <a:lnTo>
                    <a:pt x="80" y="117"/>
                  </a:lnTo>
                  <a:lnTo>
                    <a:pt x="89" y="101"/>
                  </a:lnTo>
                  <a:lnTo>
                    <a:pt x="96" y="96"/>
                  </a:lnTo>
                  <a:lnTo>
                    <a:pt x="120" y="94"/>
                  </a:lnTo>
                  <a:lnTo>
                    <a:pt x="148" y="84"/>
                  </a:lnTo>
                  <a:lnTo>
                    <a:pt x="152" y="60"/>
                  </a:lnTo>
                  <a:lnTo>
                    <a:pt x="162" y="19"/>
                  </a:lnTo>
                  <a:lnTo>
                    <a:pt x="191" y="9"/>
                  </a:lnTo>
                  <a:lnTo>
                    <a:pt x="204" y="21"/>
                  </a:lnTo>
                  <a:lnTo>
                    <a:pt x="222" y="33"/>
                  </a:lnTo>
                  <a:lnTo>
                    <a:pt x="232" y="17"/>
                  </a:lnTo>
                  <a:lnTo>
                    <a:pt x="246" y="0"/>
                  </a:lnTo>
                  <a:lnTo>
                    <a:pt x="264" y="24"/>
                  </a:lnTo>
                  <a:lnTo>
                    <a:pt x="239" y="55"/>
                  </a:lnTo>
                  <a:lnTo>
                    <a:pt x="246" y="73"/>
                  </a:lnTo>
                  <a:lnTo>
                    <a:pt x="262" y="82"/>
                  </a:lnTo>
                  <a:lnTo>
                    <a:pt x="267" y="117"/>
                  </a:lnTo>
                  <a:lnTo>
                    <a:pt x="276" y="143"/>
                  </a:lnTo>
                  <a:lnTo>
                    <a:pt x="281" y="147"/>
                  </a:lnTo>
                  <a:lnTo>
                    <a:pt x="280" y="149"/>
                  </a:lnTo>
                  <a:lnTo>
                    <a:pt x="282" y="151"/>
                  </a:lnTo>
                  <a:lnTo>
                    <a:pt x="280" y="166"/>
                  </a:lnTo>
                  <a:lnTo>
                    <a:pt x="272" y="174"/>
                  </a:lnTo>
                  <a:lnTo>
                    <a:pt x="269" y="185"/>
                  </a:lnTo>
                  <a:lnTo>
                    <a:pt x="287" y="192"/>
                  </a:lnTo>
                  <a:lnTo>
                    <a:pt x="290" y="197"/>
                  </a:lnTo>
                  <a:lnTo>
                    <a:pt x="294" y="201"/>
                  </a:lnTo>
                  <a:lnTo>
                    <a:pt x="293" y="204"/>
                  </a:lnTo>
                  <a:lnTo>
                    <a:pt x="286" y="214"/>
                  </a:lnTo>
                  <a:lnTo>
                    <a:pt x="284" y="238"/>
                  </a:lnTo>
                  <a:lnTo>
                    <a:pt x="288" y="240"/>
                  </a:lnTo>
                  <a:lnTo>
                    <a:pt x="300" y="240"/>
                  </a:lnTo>
                  <a:lnTo>
                    <a:pt x="328" y="250"/>
                  </a:lnTo>
                  <a:lnTo>
                    <a:pt x="323" y="267"/>
                  </a:lnTo>
                  <a:lnTo>
                    <a:pt x="333" y="273"/>
                  </a:lnTo>
                  <a:lnTo>
                    <a:pt x="332" y="294"/>
                  </a:lnTo>
                  <a:lnTo>
                    <a:pt x="334" y="311"/>
                  </a:lnTo>
                  <a:lnTo>
                    <a:pt x="344" y="312"/>
                  </a:lnTo>
                  <a:lnTo>
                    <a:pt x="348" y="318"/>
                  </a:lnTo>
                  <a:lnTo>
                    <a:pt x="352" y="319"/>
                  </a:lnTo>
                  <a:lnTo>
                    <a:pt x="366" y="335"/>
                  </a:lnTo>
                  <a:lnTo>
                    <a:pt x="371" y="339"/>
                  </a:lnTo>
                  <a:lnTo>
                    <a:pt x="377" y="364"/>
                  </a:lnTo>
                  <a:lnTo>
                    <a:pt x="394" y="361"/>
                  </a:lnTo>
                  <a:lnTo>
                    <a:pt x="408" y="363"/>
                  </a:lnTo>
                  <a:lnTo>
                    <a:pt x="420" y="381"/>
                  </a:lnTo>
                  <a:lnTo>
                    <a:pt x="424" y="383"/>
                  </a:lnTo>
                  <a:lnTo>
                    <a:pt x="431" y="377"/>
                  </a:lnTo>
                  <a:lnTo>
                    <a:pt x="434" y="373"/>
                  </a:lnTo>
                  <a:lnTo>
                    <a:pt x="443" y="370"/>
                  </a:lnTo>
                  <a:lnTo>
                    <a:pt x="448" y="370"/>
                  </a:lnTo>
                  <a:lnTo>
                    <a:pt x="466" y="371"/>
                  </a:lnTo>
                  <a:lnTo>
                    <a:pt x="478" y="376"/>
                  </a:lnTo>
                  <a:lnTo>
                    <a:pt x="480" y="389"/>
                  </a:lnTo>
                  <a:lnTo>
                    <a:pt x="480" y="454"/>
                  </a:lnTo>
                  <a:lnTo>
                    <a:pt x="483" y="466"/>
                  </a:lnTo>
                  <a:lnTo>
                    <a:pt x="484" y="484"/>
                  </a:lnTo>
                  <a:lnTo>
                    <a:pt x="512" y="485"/>
                  </a:lnTo>
                  <a:lnTo>
                    <a:pt x="512" y="498"/>
                  </a:lnTo>
                  <a:lnTo>
                    <a:pt x="470" y="532"/>
                  </a:lnTo>
                  <a:lnTo>
                    <a:pt x="422" y="571"/>
                  </a:lnTo>
                  <a:lnTo>
                    <a:pt x="417" y="571"/>
                  </a:lnTo>
                  <a:lnTo>
                    <a:pt x="406" y="579"/>
                  </a:lnTo>
                  <a:lnTo>
                    <a:pt x="399" y="575"/>
                  </a:lnTo>
                  <a:lnTo>
                    <a:pt x="389" y="576"/>
                  </a:lnTo>
                  <a:lnTo>
                    <a:pt x="384" y="576"/>
                  </a:lnTo>
                  <a:lnTo>
                    <a:pt x="383" y="583"/>
                  </a:lnTo>
                  <a:lnTo>
                    <a:pt x="375" y="591"/>
                  </a:lnTo>
                  <a:lnTo>
                    <a:pt x="375" y="600"/>
                  </a:lnTo>
                  <a:lnTo>
                    <a:pt x="375" y="607"/>
                  </a:lnTo>
                  <a:lnTo>
                    <a:pt x="374" y="613"/>
                  </a:lnTo>
                  <a:lnTo>
                    <a:pt x="374" y="624"/>
                  </a:lnTo>
                  <a:lnTo>
                    <a:pt x="375" y="627"/>
                  </a:lnTo>
                  <a:lnTo>
                    <a:pt x="374" y="630"/>
                  </a:lnTo>
                  <a:lnTo>
                    <a:pt x="360" y="630"/>
                  </a:lnTo>
                  <a:lnTo>
                    <a:pt x="347" y="634"/>
                  </a:lnTo>
                  <a:lnTo>
                    <a:pt x="340" y="640"/>
                  </a:lnTo>
                  <a:lnTo>
                    <a:pt x="330" y="649"/>
                  </a:lnTo>
                  <a:lnTo>
                    <a:pt x="320" y="651"/>
                  </a:lnTo>
                  <a:lnTo>
                    <a:pt x="316" y="655"/>
                  </a:lnTo>
                  <a:lnTo>
                    <a:pt x="315" y="663"/>
                  </a:lnTo>
                  <a:lnTo>
                    <a:pt x="309" y="667"/>
                  </a:lnTo>
                  <a:lnTo>
                    <a:pt x="303" y="670"/>
                  </a:lnTo>
                  <a:lnTo>
                    <a:pt x="302" y="667"/>
                  </a:lnTo>
                  <a:lnTo>
                    <a:pt x="293" y="667"/>
                  </a:lnTo>
                  <a:lnTo>
                    <a:pt x="279" y="676"/>
                  </a:lnTo>
                  <a:lnTo>
                    <a:pt x="276" y="687"/>
                  </a:lnTo>
                  <a:lnTo>
                    <a:pt x="279" y="688"/>
                  </a:lnTo>
                  <a:lnTo>
                    <a:pt x="293" y="691"/>
                  </a:lnTo>
                  <a:lnTo>
                    <a:pt x="297" y="708"/>
                  </a:lnTo>
                  <a:lnTo>
                    <a:pt x="304" y="720"/>
                  </a:lnTo>
                  <a:lnTo>
                    <a:pt x="299" y="730"/>
                  </a:lnTo>
                  <a:lnTo>
                    <a:pt x="292" y="749"/>
                  </a:lnTo>
                  <a:lnTo>
                    <a:pt x="293" y="769"/>
                  </a:lnTo>
                  <a:lnTo>
                    <a:pt x="296" y="785"/>
                  </a:lnTo>
                  <a:lnTo>
                    <a:pt x="300" y="787"/>
                  </a:lnTo>
                  <a:lnTo>
                    <a:pt x="303" y="790"/>
                  </a:lnTo>
                  <a:lnTo>
                    <a:pt x="316" y="801"/>
                  </a:lnTo>
                  <a:lnTo>
                    <a:pt x="321" y="808"/>
                  </a:lnTo>
                  <a:lnTo>
                    <a:pt x="324" y="808"/>
                  </a:lnTo>
                  <a:lnTo>
                    <a:pt x="327" y="811"/>
                  </a:lnTo>
                  <a:lnTo>
                    <a:pt x="323" y="814"/>
                  </a:lnTo>
                  <a:lnTo>
                    <a:pt x="320" y="838"/>
                  </a:lnTo>
                  <a:lnTo>
                    <a:pt x="299" y="840"/>
                  </a:lnTo>
                  <a:lnTo>
                    <a:pt x="291" y="851"/>
                  </a:lnTo>
                  <a:lnTo>
                    <a:pt x="286" y="851"/>
                  </a:lnTo>
                  <a:lnTo>
                    <a:pt x="272" y="846"/>
                  </a:lnTo>
                  <a:lnTo>
                    <a:pt x="268" y="846"/>
                  </a:lnTo>
                  <a:lnTo>
                    <a:pt x="263" y="847"/>
                  </a:lnTo>
                  <a:lnTo>
                    <a:pt x="256" y="847"/>
                  </a:lnTo>
                  <a:lnTo>
                    <a:pt x="254" y="847"/>
                  </a:lnTo>
                  <a:lnTo>
                    <a:pt x="248" y="851"/>
                  </a:lnTo>
                  <a:lnTo>
                    <a:pt x="245" y="853"/>
                  </a:lnTo>
                  <a:lnTo>
                    <a:pt x="236" y="876"/>
                  </a:lnTo>
                  <a:lnTo>
                    <a:pt x="236" y="925"/>
                  </a:lnTo>
                  <a:lnTo>
                    <a:pt x="231" y="929"/>
                  </a:lnTo>
                  <a:lnTo>
                    <a:pt x="227" y="930"/>
                  </a:lnTo>
                  <a:lnTo>
                    <a:pt x="212" y="923"/>
                  </a:lnTo>
                  <a:lnTo>
                    <a:pt x="204" y="928"/>
                  </a:lnTo>
                  <a:lnTo>
                    <a:pt x="200" y="934"/>
                  </a:lnTo>
                  <a:lnTo>
                    <a:pt x="206" y="939"/>
                  </a:lnTo>
                  <a:lnTo>
                    <a:pt x="208" y="951"/>
                  </a:lnTo>
                  <a:lnTo>
                    <a:pt x="198" y="961"/>
                  </a:lnTo>
                  <a:lnTo>
                    <a:pt x="198" y="958"/>
                  </a:lnTo>
                  <a:lnTo>
                    <a:pt x="166" y="955"/>
                  </a:lnTo>
                  <a:lnTo>
                    <a:pt x="165" y="966"/>
                  </a:lnTo>
                  <a:lnTo>
                    <a:pt x="134" y="965"/>
                  </a:lnTo>
                  <a:lnTo>
                    <a:pt x="128" y="953"/>
                  </a:lnTo>
                  <a:lnTo>
                    <a:pt x="129" y="851"/>
                  </a:lnTo>
                  <a:lnTo>
                    <a:pt x="126" y="838"/>
                  </a:lnTo>
                  <a:lnTo>
                    <a:pt x="118" y="819"/>
                  </a:lnTo>
                  <a:lnTo>
                    <a:pt x="107" y="804"/>
                  </a:lnTo>
                  <a:lnTo>
                    <a:pt x="102" y="792"/>
                  </a:lnTo>
                  <a:lnTo>
                    <a:pt x="102" y="765"/>
                  </a:lnTo>
                  <a:lnTo>
                    <a:pt x="105" y="753"/>
                  </a:lnTo>
                  <a:lnTo>
                    <a:pt x="102" y="732"/>
                  </a:lnTo>
                  <a:lnTo>
                    <a:pt x="100" y="725"/>
                  </a:lnTo>
                  <a:lnTo>
                    <a:pt x="81" y="694"/>
                  </a:lnTo>
                  <a:lnTo>
                    <a:pt x="70" y="682"/>
                  </a:lnTo>
                  <a:lnTo>
                    <a:pt x="76" y="677"/>
                  </a:lnTo>
                  <a:lnTo>
                    <a:pt x="80" y="664"/>
                  </a:lnTo>
                  <a:lnTo>
                    <a:pt x="78" y="658"/>
                  </a:lnTo>
                  <a:lnTo>
                    <a:pt x="77" y="651"/>
                  </a:lnTo>
                  <a:lnTo>
                    <a:pt x="77" y="643"/>
                  </a:lnTo>
                  <a:lnTo>
                    <a:pt x="70" y="624"/>
                  </a:lnTo>
                  <a:lnTo>
                    <a:pt x="71" y="618"/>
                  </a:lnTo>
                  <a:lnTo>
                    <a:pt x="75" y="612"/>
                  </a:lnTo>
                  <a:lnTo>
                    <a:pt x="81" y="606"/>
                  </a:lnTo>
                  <a:lnTo>
                    <a:pt x="82" y="592"/>
                  </a:lnTo>
                  <a:lnTo>
                    <a:pt x="69" y="587"/>
                  </a:lnTo>
                  <a:lnTo>
                    <a:pt x="68" y="569"/>
                  </a:lnTo>
                  <a:lnTo>
                    <a:pt x="70" y="555"/>
                  </a:lnTo>
                  <a:lnTo>
                    <a:pt x="80" y="546"/>
                  </a:lnTo>
                  <a:lnTo>
                    <a:pt x="105" y="533"/>
                  </a:lnTo>
                  <a:lnTo>
                    <a:pt x="119" y="541"/>
                  </a:lnTo>
                  <a:lnTo>
                    <a:pt x="147" y="545"/>
                  </a:lnTo>
                  <a:lnTo>
                    <a:pt x="149" y="544"/>
                  </a:lnTo>
                  <a:lnTo>
                    <a:pt x="156" y="544"/>
                  </a:lnTo>
                  <a:lnTo>
                    <a:pt x="173" y="541"/>
                  </a:lnTo>
                  <a:lnTo>
                    <a:pt x="180" y="532"/>
                  </a:lnTo>
                  <a:lnTo>
                    <a:pt x="182" y="526"/>
                  </a:lnTo>
                  <a:lnTo>
                    <a:pt x="170" y="519"/>
                  </a:lnTo>
                  <a:lnTo>
                    <a:pt x="164" y="520"/>
                  </a:lnTo>
                  <a:lnTo>
                    <a:pt x="136" y="514"/>
                  </a:lnTo>
                  <a:lnTo>
                    <a:pt x="138" y="504"/>
                  </a:lnTo>
                  <a:lnTo>
                    <a:pt x="111" y="492"/>
                  </a:lnTo>
                  <a:lnTo>
                    <a:pt x="106" y="487"/>
                  </a:lnTo>
                  <a:lnTo>
                    <a:pt x="110" y="478"/>
                  </a:lnTo>
                  <a:lnTo>
                    <a:pt x="123" y="479"/>
                  </a:lnTo>
                  <a:lnTo>
                    <a:pt x="122" y="474"/>
                  </a:lnTo>
                  <a:lnTo>
                    <a:pt x="114" y="466"/>
                  </a:lnTo>
                  <a:lnTo>
                    <a:pt x="107" y="463"/>
                  </a:lnTo>
                  <a:lnTo>
                    <a:pt x="104" y="466"/>
                  </a:lnTo>
                  <a:lnTo>
                    <a:pt x="86" y="455"/>
                  </a:lnTo>
                  <a:lnTo>
                    <a:pt x="68" y="433"/>
                  </a:lnTo>
                  <a:lnTo>
                    <a:pt x="66" y="430"/>
                  </a:lnTo>
                  <a:lnTo>
                    <a:pt x="57" y="424"/>
                  </a:lnTo>
                  <a:lnTo>
                    <a:pt x="54" y="421"/>
                  </a:lnTo>
                  <a:lnTo>
                    <a:pt x="63" y="393"/>
                  </a:lnTo>
                  <a:lnTo>
                    <a:pt x="51" y="387"/>
                  </a:lnTo>
                  <a:lnTo>
                    <a:pt x="53" y="377"/>
                  </a:lnTo>
                  <a:lnTo>
                    <a:pt x="45" y="353"/>
                  </a:lnTo>
                  <a:lnTo>
                    <a:pt x="22" y="347"/>
                  </a:lnTo>
                  <a:lnTo>
                    <a:pt x="20" y="335"/>
                  </a:lnTo>
                  <a:lnTo>
                    <a:pt x="10" y="322"/>
                  </a:lnTo>
                  <a:lnTo>
                    <a:pt x="0" y="301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4" name="Freeform 22"/>
            <p:cNvSpPr>
              <a:spLocks/>
            </p:cNvSpPr>
            <p:nvPr/>
          </p:nvSpPr>
          <p:spPr bwMode="auto">
            <a:xfrm>
              <a:off x="4237038" y="3825875"/>
              <a:ext cx="601662" cy="557213"/>
            </a:xfrm>
            <a:custGeom>
              <a:avLst/>
              <a:gdLst>
                <a:gd name="T0" fmla="*/ 11340297 w 758"/>
                <a:gd name="T1" fmla="*/ 187752206 h 702"/>
                <a:gd name="T2" fmla="*/ 17010842 w 758"/>
                <a:gd name="T3" fmla="*/ 228704980 h 702"/>
                <a:gd name="T4" fmla="*/ 35912395 w 758"/>
                <a:gd name="T5" fmla="*/ 243825931 h 702"/>
                <a:gd name="T6" fmla="*/ 64893771 w 758"/>
                <a:gd name="T7" fmla="*/ 262726723 h 702"/>
                <a:gd name="T8" fmla="*/ 76234862 w 758"/>
                <a:gd name="T9" fmla="*/ 267136802 h 702"/>
                <a:gd name="T10" fmla="*/ 94505384 w 758"/>
                <a:gd name="T11" fmla="*/ 266507358 h 702"/>
                <a:gd name="T12" fmla="*/ 115927091 w 758"/>
                <a:gd name="T13" fmla="*/ 238785614 h 702"/>
                <a:gd name="T14" fmla="*/ 130417779 w 758"/>
                <a:gd name="T15" fmla="*/ 252015851 h 702"/>
                <a:gd name="T16" fmla="*/ 124747234 w 758"/>
                <a:gd name="T17" fmla="*/ 278477912 h 702"/>
                <a:gd name="T18" fmla="*/ 130417779 w 758"/>
                <a:gd name="T19" fmla="*/ 297378704 h 702"/>
                <a:gd name="T20" fmla="*/ 132307696 w 758"/>
                <a:gd name="T21" fmla="*/ 320060131 h 702"/>
                <a:gd name="T22" fmla="*/ 115927091 w 758"/>
                <a:gd name="T23" fmla="*/ 359753223 h 702"/>
                <a:gd name="T24" fmla="*/ 126637945 w 758"/>
                <a:gd name="T25" fmla="*/ 369203619 h 702"/>
                <a:gd name="T26" fmla="*/ 157509238 w 758"/>
                <a:gd name="T27" fmla="*/ 380543935 h 702"/>
                <a:gd name="T28" fmla="*/ 183341016 w 758"/>
                <a:gd name="T29" fmla="*/ 397555600 h 702"/>
                <a:gd name="T30" fmla="*/ 206022404 w 758"/>
                <a:gd name="T31" fmla="*/ 412046313 h 702"/>
                <a:gd name="T32" fmla="*/ 223033246 w 758"/>
                <a:gd name="T33" fmla="*/ 395664886 h 702"/>
                <a:gd name="T34" fmla="*/ 250124705 w 758"/>
                <a:gd name="T35" fmla="*/ 393144728 h 702"/>
                <a:gd name="T36" fmla="*/ 279737111 w 758"/>
                <a:gd name="T37" fmla="*/ 412046313 h 702"/>
                <a:gd name="T38" fmla="*/ 302418499 w 758"/>
                <a:gd name="T39" fmla="*/ 416456392 h 702"/>
                <a:gd name="T40" fmla="*/ 310608404 w 758"/>
                <a:gd name="T41" fmla="*/ 403225362 h 702"/>
                <a:gd name="T42" fmla="*/ 338960337 w 758"/>
                <a:gd name="T43" fmla="*/ 415196710 h 702"/>
                <a:gd name="T44" fmla="*/ 347781273 w 758"/>
                <a:gd name="T45" fmla="*/ 417716869 h 702"/>
                <a:gd name="T46" fmla="*/ 352821582 w 758"/>
                <a:gd name="T47" fmla="*/ 403855600 h 702"/>
                <a:gd name="T48" fmla="*/ 369202187 w 758"/>
                <a:gd name="T49" fmla="*/ 391254807 h 702"/>
                <a:gd name="T50" fmla="*/ 378652567 w 758"/>
                <a:gd name="T51" fmla="*/ 401335441 h 702"/>
                <a:gd name="T52" fmla="*/ 401964191 w 758"/>
                <a:gd name="T53" fmla="*/ 430947105 h 702"/>
                <a:gd name="T54" fmla="*/ 416454879 w 758"/>
                <a:gd name="T55" fmla="*/ 429057185 h 702"/>
                <a:gd name="T56" fmla="*/ 429685887 w 758"/>
                <a:gd name="T57" fmla="*/ 437878137 h 702"/>
                <a:gd name="T58" fmla="*/ 442286657 w 758"/>
                <a:gd name="T59" fmla="*/ 438507581 h 702"/>
                <a:gd name="T60" fmla="*/ 455517665 w 758"/>
                <a:gd name="T61" fmla="*/ 441657978 h 702"/>
                <a:gd name="T62" fmla="*/ 457407582 w 758"/>
                <a:gd name="T63" fmla="*/ 421496709 h 702"/>
                <a:gd name="T64" fmla="*/ 470008353 w 758"/>
                <a:gd name="T65" fmla="*/ 413936234 h 702"/>
                <a:gd name="T66" fmla="*/ 463708365 w 758"/>
                <a:gd name="T67" fmla="*/ 400075759 h 702"/>
                <a:gd name="T68" fmla="*/ 471268827 w 758"/>
                <a:gd name="T69" fmla="*/ 378654015 h 702"/>
                <a:gd name="T70" fmla="*/ 474418424 w 758"/>
                <a:gd name="T71" fmla="*/ 362902826 h 702"/>
                <a:gd name="T72" fmla="*/ 474418424 w 758"/>
                <a:gd name="T73" fmla="*/ 350302033 h 702"/>
                <a:gd name="T74" fmla="*/ 464968045 w 758"/>
                <a:gd name="T75" fmla="*/ 332031479 h 702"/>
                <a:gd name="T76" fmla="*/ 461188210 w 758"/>
                <a:gd name="T77" fmla="*/ 304309736 h 702"/>
                <a:gd name="T78" fmla="*/ 407004499 w 758"/>
                <a:gd name="T79" fmla="*/ 295488784 h 702"/>
                <a:gd name="T80" fmla="*/ 368571950 w 758"/>
                <a:gd name="T81" fmla="*/ 290448467 h 702"/>
                <a:gd name="T82" fmla="*/ 350301428 w 758"/>
                <a:gd name="T83" fmla="*/ 260206565 h 702"/>
                <a:gd name="T84" fmla="*/ 331399875 w 758"/>
                <a:gd name="T85" fmla="*/ 259576327 h 702"/>
                <a:gd name="T86" fmla="*/ 270285938 w 758"/>
                <a:gd name="T87" fmla="*/ 240045297 h 702"/>
                <a:gd name="T88" fmla="*/ 280366555 w 758"/>
                <a:gd name="T89" fmla="*/ 217994108 h 702"/>
                <a:gd name="T90" fmla="*/ 269656495 w 758"/>
                <a:gd name="T91" fmla="*/ 189011888 h 702"/>
                <a:gd name="T92" fmla="*/ 255795250 w 758"/>
                <a:gd name="T93" fmla="*/ 182081651 h 702"/>
                <a:gd name="T94" fmla="*/ 215472783 w 758"/>
                <a:gd name="T95" fmla="*/ 184601809 h 702"/>
                <a:gd name="T96" fmla="*/ 210432475 w 758"/>
                <a:gd name="T97" fmla="*/ 104586975 h 702"/>
                <a:gd name="T98" fmla="*/ 195311550 w 758"/>
                <a:gd name="T99" fmla="*/ 58593884 h 702"/>
                <a:gd name="T100" fmla="*/ 182081336 w 758"/>
                <a:gd name="T101" fmla="*/ 13861269 h 702"/>
                <a:gd name="T102" fmla="*/ 170740246 w 758"/>
                <a:gd name="T103" fmla="*/ 0 h 702"/>
                <a:gd name="T104" fmla="*/ 175150317 w 758"/>
                <a:gd name="T105" fmla="*/ 10710872 h 702"/>
                <a:gd name="T106" fmla="*/ 153729403 w 758"/>
                <a:gd name="T107" fmla="*/ 26462061 h 702"/>
                <a:gd name="T108" fmla="*/ 132307696 w 758"/>
                <a:gd name="T109" fmla="*/ 49143488 h 702"/>
                <a:gd name="T110" fmla="*/ 133568170 w 758"/>
                <a:gd name="T111" fmla="*/ 78755152 h 702"/>
                <a:gd name="T112" fmla="*/ 75604625 w 758"/>
                <a:gd name="T113" fmla="*/ 146799432 h 702"/>
                <a:gd name="T114" fmla="*/ 31501530 w 758"/>
                <a:gd name="T115" fmla="*/ 158139748 h 702"/>
                <a:gd name="T116" fmla="*/ 7560462 w 758"/>
                <a:gd name="T117" fmla="*/ 172001017 h 70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58"/>
                <a:gd name="T178" fmla="*/ 0 h 702"/>
                <a:gd name="T179" fmla="*/ 758 w 758"/>
                <a:gd name="T180" fmla="*/ 702 h 70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58" h="702">
                  <a:moveTo>
                    <a:pt x="0" y="286"/>
                  </a:moveTo>
                  <a:lnTo>
                    <a:pt x="1" y="292"/>
                  </a:lnTo>
                  <a:lnTo>
                    <a:pt x="10" y="294"/>
                  </a:lnTo>
                  <a:lnTo>
                    <a:pt x="18" y="298"/>
                  </a:lnTo>
                  <a:lnTo>
                    <a:pt x="20" y="305"/>
                  </a:lnTo>
                  <a:lnTo>
                    <a:pt x="21" y="347"/>
                  </a:lnTo>
                  <a:lnTo>
                    <a:pt x="26" y="353"/>
                  </a:lnTo>
                  <a:lnTo>
                    <a:pt x="27" y="363"/>
                  </a:lnTo>
                  <a:lnTo>
                    <a:pt x="43" y="379"/>
                  </a:lnTo>
                  <a:lnTo>
                    <a:pt x="48" y="379"/>
                  </a:lnTo>
                  <a:lnTo>
                    <a:pt x="50" y="382"/>
                  </a:lnTo>
                  <a:lnTo>
                    <a:pt x="57" y="387"/>
                  </a:lnTo>
                  <a:lnTo>
                    <a:pt x="66" y="385"/>
                  </a:lnTo>
                  <a:lnTo>
                    <a:pt x="72" y="394"/>
                  </a:lnTo>
                  <a:lnTo>
                    <a:pt x="82" y="397"/>
                  </a:lnTo>
                  <a:lnTo>
                    <a:pt x="103" y="417"/>
                  </a:lnTo>
                  <a:lnTo>
                    <a:pt x="110" y="431"/>
                  </a:lnTo>
                  <a:lnTo>
                    <a:pt x="115" y="439"/>
                  </a:lnTo>
                  <a:lnTo>
                    <a:pt x="121" y="435"/>
                  </a:lnTo>
                  <a:lnTo>
                    <a:pt x="121" y="424"/>
                  </a:lnTo>
                  <a:lnTo>
                    <a:pt x="123" y="421"/>
                  </a:lnTo>
                  <a:lnTo>
                    <a:pt x="138" y="429"/>
                  </a:lnTo>
                  <a:lnTo>
                    <a:pt x="146" y="429"/>
                  </a:lnTo>
                  <a:lnTo>
                    <a:pt x="150" y="423"/>
                  </a:lnTo>
                  <a:lnTo>
                    <a:pt x="166" y="408"/>
                  </a:lnTo>
                  <a:lnTo>
                    <a:pt x="175" y="397"/>
                  </a:lnTo>
                  <a:lnTo>
                    <a:pt x="177" y="378"/>
                  </a:lnTo>
                  <a:lnTo>
                    <a:pt x="184" y="379"/>
                  </a:lnTo>
                  <a:lnTo>
                    <a:pt x="193" y="390"/>
                  </a:lnTo>
                  <a:lnTo>
                    <a:pt x="200" y="394"/>
                  </a:lnTo>
                  <a:lnTo>
                    <a:pt x="205" y="394"/>
                  </a:lnTo>
                  <a:lnTo>
                    <a:pt x="207" y="400"/>
                  </a:lnTo>
                  <a:lnTo>
                    <a:pt x="208" y="408"/>
                  </a:lnTo>
                  <a:lnTo>
                    <a:pt x="211" y="418"/>
                  </a:lnTo>
                  <a:lnTo>
                    <a:pt x="208" y="432"/>
                  </a:lnTo>
                  <a:lnTo>
                    <a:pt x="198" y="442"/>
                  </a:lnTo>
                  <a:lnTo>
                    <a:pt x="193" y="445"/>
                  </a:lnTo>
                  <a:lnTo>
                    <a:pt x="193" y="455"/>
                  </a:lnTo>
                  <a:lnTo>
                    <a:pt x="202" y="467"/>
                  </a:lnTo>
                  <a:lnTo>
                    <a:pt x="207" y="472"/>
                  </a:lnTo>
                  <a:lnTo>
                    <a:pt x="211" y="473"/>
                  </a:lnTo>
                  <a:lnTo>
                    <a:pt x="212" y="477"/>
                  </a:lnTo>
                  <a:lnTo>
                    <a:pt x="211" y="498"/>
                  </a:lnTo>
                  <a:lnTo>
                    <a:pt x="210" y="508"/>
                  </a:lnTo>
                  <a:lnTo>
                    <a:pt x="208" y="531"/>
                  </a:lnTo>
                  <a:lnTo>
                    <a:pt x="194" y="555"/>
                  </a:lnTo>
                  <a:lnTo>
                    <a:pt x="192" y="562"/>
                  </a:lnTo>
                  <a:lnTo>
                    <a:pt x="184" y="571"/>
                  </a:lnTo>
                  <a:lnTo>
                    <a:pt x="183" y="580"/>
                  </a:lnTo>
                  <a:lnTo>
                    <a:pt x="187" y="585"/>
                  </a:lnTo>
                  <a:lnTo>
                    <a:pt x="195" y="585"/>
                  </a:lnTo>
                  <a:lnTo>
                    <a:pt x="201" y="586"/>
                  </a:lnTo>
                  <a:lnTo>
                    <a:pt x="208" y="588"/>
                  </a:lnTo>
                  <a:lnTo>
                    <a:pt x="213" y="600"/>
                  </a:lnTo>
                  <a:lnTo>
                    <a:pt x="234" y="601"/>
                  </a:lnTo>
                  <a:lnTo>
                    <a:pt x="250" y="604"/>
                  </a:lnTo>
                  <a:lnTo>
                    <a:pt x="260" y="601"/>
                  </a:lnTo>
                  <a:lnTo>
                    <a:pt x="274" y="623"/>
                  </a:lnTo>
                  <a:lnTo>
                    <a:pt x="288" y="633"/>
                  </a:lnTo>
                  <a:lnTo>
                    <a:pt x="291" y="631"/>
                  </a:lnTo>
                  <a:lnTo>
                    <a:pt x="306" y="642"/>
                  </a:lnTo>
                  <a:lnTo>
                    <a:pt x="310" y="648"/>
                  </a:lnTo>
                  <a:lnTo>
                    <a:pt x="318" y="652"/>
                  </a:lnTo>
                  <a:lnTo>
                    <a:pt x="327" y="654"/>
                  </a:lnTo>
                  <a:lnTo>
                    <a:pt x="339" y="652"/>
                  </a:lnTo>
                  <a:lnTo>
                    <a:pt x="344" y="646"/>
                  </a:lnTo>
                  <a:lnTo>
                    <a:pt x="345" y="633"/>
                  </a:lnTo>
                  <a:lnTo>
                    <a:pt x="354" y="628"/>
                  </a:lnTo>
                  <a:lnTo>
                    <a:pt x="373" y="621"/>
                  </a:lnTo>
                  <a:lnTo>
                    <a:pt x="381" y="623"/>
                  </a:lnTo>
                  <a:lnTo>
                    <a:pt x="388" y="624"/>
                  </a:lnTo>
                  <a:lnTo>
                    <a:pt x="397" y="624"/>
                  </a:lnTo>
                  <a:lnTo>
                    <a:pt x="402" y="624"/>
                  </a:lnTo>
                  <a:lnTo>
                    <a:pt x="408" y="631"/>
                  </a:lnTo>
                  <a:lnTo>
                    <a:pt x="415" y="635"/>
                  </a:lnTo>
                  <a:lnTo>
                    <a:pt x="444" y="654"/>
                  </a:lnTo>
                  <a:lnTo>
                    <a:pt x="451" y="655"/>
                  </a:lnTo>
                  <a:lnTo>
                    <a:pt x="466" y="659"/>
                  </a:lnTo>
                  <a:lnTo>
                    <a:pt x="475" y="659"/>
                  </a:lnTo>
                  <a:lnTo>
                    <a:pt x="480" y="661"/>
                  </a:lnTo>
                  <a:lnTo>
                    <a:pt x="484" y="655"/>
                  </a:lnTo>
                  <a:lnTo>
                    <a:pt x="486" y="651"/>
                  </a:lnTo>
                  <a:lnTo>
                    <a:pt x="489" y="641"/>
                  </a:lnTo>
                  <a:lnTo>
                    <a:pt x="493" y="640"/>
                  </a:lnTo>
                  <a:lnTo>
                    <a:pt x="505" y="645"/>
                  </a:lnTo>
                  <a:lnTo>
                    <a:pt x="517" y="654"/>
                  </a:lnTo>
                  <a:lnTo>
                    <a:pt x="531" y="660"/>
                  </a:lnTo>
                  <a:lnTo>
                    <a:pt x="538" y="659"/>
                  </a:lnTo>
                  <a:lnTo>
                    <a:pt x="541" y="658"/>
                  </a:lnTo>
                  <a:lnTo>
                    <a:pt x="543" y="658"/>
                  </a:lnTo>
                  <a:lnTo>
                    <a:pt x="549" y="660"/>
                  </a:lnTo>
                  <a:lnTo>
                    <a:pt x="552" y="663"/>
                  </a:lnTo>
                  <a:lnTo>
                    <a:pt x="556" y="664"/>
                  </a:lnTo>
                  <a:lnTo>
                    <a:pt x="560" y="659"/>
                  </a:lnTo>
                  <a:lnTo>
                    <a:pt x="560" y="645"/>
                  </a:lnTo>
                  <a:lnTo>
                    <a:pt x="560" y="641"/>
                  </a:lnTo>
                  <a:lnTo>
                    <a:pt x="561" y="636"/>
                  </a:lnTo>
                  <a:lnTo>
                    <a:pt x="570" y="624"/>
                  </a:lnTo>
                  <a:lnTo>
                    <a:pt x="577" y="619"/>
                  </a:lnTo>
                  <a:lnTo>
                    <a:pt x="586" y="621"/>
                  </a:lnTo>
                  <a:lnTo>
                    <a:pt x="585" y="625"/>
                  </a:lnTo>
                  <a:lnTo>
                    <a:pt x="588" y="627"/>
                  </a:lnTo>
                  <a:lnTo>
                    <a:pt x="597" y="621"/>
                  </a:lnTo>
                  <a:lnTo>
                    <a:pt x="601" y="637"/>
                  </a:lnTo>
                  <a:lnTo>
                    <a:pt x="602" y="640"/>
                  </a:lnTo>
                  <a:lnTo>
                    <a:pt x="613" y="666"/>
                  </a:lnTo>
                  <a:lnTo>
                    <a:pt x="636" y="702"/>
                  </a:lnTo>
                  <a:lnTo>
                    <a:pt x="638" y="684"/>
                  </a:lnTo>
                  <a:lnTo>
                    <a:pt x="640" y="682"/>
                  </a:lnTo>
                  <a:lnTo>
                    <a:pt x="648" y="679"/>
                  </a:lnTo>
                  <a:lnTo>
                    <a:pt x="651" y="678"/>
                  </a:lnTo>
                  <a:lnTo>
                    <a:pt x="661" y="681"/>
                  </a:lnTo>
                  <a:lnTo>
                    <a:pt x="666" y="689"/>
                  </a:lnTo>
                  <a:lnTo>
                    <a:pt x="670" y="694"/>
                  </a:lnTo>
                  <a:lnTo>
                    <a:pt x="675" y="695"/>
                  </a:lnTo>
                  <a:lnTo>
                    <a:pt x="682" y="695"/>
                  </a:lnTo>
                  <a:lnTo>
                    <a:pt x="688" y="695"/>
                  </a:lnTo>
                  <a:lnTo>
                    <a:pt x="693" y="697"/>
                  </a:lnTo>
                  <a:lnTo>
                    <a:pt x="697" y="696"/>
                  </a:lnTo>
                  <a:lnTo>
                    <a:pt x="702" y="696"/>
                  </a:lnTo>
                  <a:lnTo>
                    <a:pt x="706" y="697"/>
                  </a:lnTo>
                  <a:lnTo>
                    <a:pt x="711" y="699"/>
                  </a:lnTo>
                  <a:lnTo>
                    <a:pt x="720" y="701"/>
                  </a:lnTo>
                  <a:lnTo>
                    <a:pt x="723" y="701"/>
                  </a:lnTo>
                  <a:lnTo>
                    <a:pt x="728" y="697"/>
                  </a:lnTo>
                  <a:lnTo>
                    <a:pt x="729" y="691"/>
                  </a:lnTo>
                  <a:lnTo>
                    <a:pt x="728" y="678"/>
                  </a:lnTo>
                  <a:lnTo>
                    <a:pt x="726" y="669"/>
                  </a:lnTo>
                  <a:lnTo>
                    <a:pt x="727" y="664"/>
                  </a:lnTo>
                  <a:lnTo>
                    <a:pt x="739" y="661"/>
                  </a:lnTo>
                  <a:lnTo>
                    <a:pt x="742" y="659"/>
                  </a:lnTo>
                  <a:lnTo>
                    <a:pt x="746" y="657"/>
                  </a:lnTo>
                  <a:lnTo>
                    <a:pt x="748" y="652"/>
                  </a:lnTo>
                  <a:lnTo>
                    <a:pt x="747" y="646"/>
                  </a:lnTo>
                  <a:lnTo>
                    <a:pt x="739" y="640"/>
                  </a:lnTo>
                  <a:lnTo>
                    <a:pt x="736" y="635"/>
                  </a:lnTo>
                  <a:lnTo>
                    <a:pt x="735" y="629"/>
                  </a:lnTo>
                  <a:lnTo>
                    <a:pt x="733" y="625"/>
                  </a:lnTo>
                  <a:lnTo>
                    <a:pt x="739" y="611"/>
                  </a:lnTo>
                  <a:lnTo>
                    <a:pt x="748" y="601"/>
                  </a:lnTo>
                  <a:lnTo>
                    <a:pt x="757" y="597"/>
                  </a:lnTo>
                  <a:lnTo>
                    <a:pt x="758" y="591"/>
                  </a:lnTo>
                  <a:lnTo>
                    <a:pt x="758" y="581"/>
                  </a:lnTo>
                  <a:lnTo>
                    <a:pt x="753" y="576"/>
                  </a:lnTo>
                  <a:lnTo>
                    <a:pt x="752" y="573"/>
                  </a:lnTo>
                  <a:lnTo>
                    <a:pt x="752" y="562"/>
                  </a:lnTo>
                  <a:lnTo>
                    <a:pt x="754" y="558"/>
                  </a:lnTo>
                  <a:lnTo>
                    <a:pt x="753" y="556"/>
                  </a:lnTo>
                  <a:lnTo>
                    <a:pt x="746" y="552"/>
                  </a:lnTo>
                  <a:lnTo>
                    <a:pt x="718" y="547"/>
                  </a:lnTo>
                  <a:lnTo>
                    <a:pt x="732" y="545"/>
                  </a:lnTo>
                  <a:lnTo>
                    <a:pt x="738" y="527"/>
                  </a:lnTo>
                  <a:lnTo>
                    <a:pt x="735" y="514"/>
                  </a:lnTo>
                  <a:lnTo>
                    <a:pt x="751" y="502"/>
                  </a:lnTo>
                  <a:lnTo>
                    <a:pt x="750" y="495"/>
                  </a:lnTo>
                  <a:lnTo>
                    <a:pt x="732" y="483"/>
                  </a:lnTo>
                  <a:lnTo>
                    <a:pt x="744" y="462"/>
                  </a:lnTo>
                  <a:lnTo>
                    <a:pt x="674" y="468"/>
                  </a:lnTo>
                  <a:lnTo>
                    <a:pt x="675" y="463"/>
                  </a:lnTo>
                  <a:lnTo>
                    <a:pt x="646" y="469"/>
                  </a:lnTo>
                  <a:lnTo>
                    <a:pt x="621" y="462"/>
                  </a:lnTo>
                  <a:lnTo>
                    <a:pt x="610" y="466"/>
                  </a:lnTo>
                  <a:lnTo>
                    <a:pt x="596" y="462"/>
                  </a:lnTo>
                  <a:lnTo>
                    <a:pt x="585" y="461"/>
                  </a:lnTo>
                  <a:lnTo>
                    <a:pt x="574" y="457"/>
                  </a:lnTo>
                  <a:lnTo>
                    <a:pt x="567" y="448"/>
                  </a:lnTo>
                  <a:lnTo>
                    <a:pt x="565" y="431"/>
                  </a:lnTo>
                  <a:lnTo>
                    <a:pt x="556" y="413"/>
                  </a:lnTo>
                  <a:lnTo>
                    <a:pt x="535" y="399"/>
                  </a:lnTo>
                  <a:lnTo>
                    <a:pt x="522" y="397"/>
                  </a:lnTo>
                  <a:lnTo>
                    <a:pt x="522" y="402"/>
                  </a:lnTo>
                  <a:lnTo>
                    <a:pt x="526" y="412"/>
                  </a:lnTo>
                  <a:lnTo>
                    <a:pt x="524" y="418"/>
                  </a:lnTo>
                  <a:lnTo>
                    <a:pt x="458" y="391"/>
                  </a:lnTo>
                  <a:lnTo>
                    <a:pt x="433" y="384"/>
                  </a:lnTo>
                  <a:lnTo>
                    <a:pt x="429" y="381"/>
                  </a:lnTo>
                  <a:lnTo>
                    <a:pt x="426" y="372"/>
                  </a:lnTo>
                  <a:lnTo>
                    <a:pt x="430" y="351"/>
                  </a:lnTo>
                  <a:lnTo>
                    <a:pt x="442" y="347"/>
                  </a:lnTo>
                  <a:lnTo>
                    <a:pt x="445" y="346"/>
                  </a:lnTo>
                  <a:lnTo>
                    <a:pt x="446" y="325"/>
                  </a:lnTo>
                  <a:lnTo>
                    <a:pt x="432" y="312"/>
                  </a:lnTo>
                  <a:lnTo>
                    <a:pt x="430" y="305"/>
                  </a:lnTo>
                  <a:lnTo>
                    <a:pt x="428" y="300"/>
                  </a:lnTo>
                  <a:lnTo>
                    <a:pt x="414" y="303"/>
                  </a:lnTo>
                  <a:lnTo>
                    <a:pt x="411" y="301"/>
                  </a:lnTo>
                  <a:lnTo>
                    <a:pt x="408" y="295"/>
                  </a:lnTo>
                  <a:lnTo>
                    <a:pt x="406" y="289"/>
                  </a:lnTo>
                  <a:lnTo>
                    <a:pt x="406" y="286"/>
                  </a:lnTo>
                  <a:lnTo>
                    <a:pt x="374" y="283"/>
                  </a:lnTo>
                  <a:lnTo>
                    <a:pt x="373" y="294"/>
                  </a:lnTo>
                  <a:lnTo>
                    <a:pt x="342" y="293"/>
                  </a:lnTo>
                  <a:lnTo>
                    <a:pt x="336" y="281"/>
                  </a:lnTo>
                  <a:lnTo>
                    <a:pt x="338" y="244"/>
                  </a:lnTo>
                  <a:lnTo>
                    <a:pt x="337" y="179"/>
                  </a:lnTo>
                  <a:lnTo>
                    <a:pt x="334" y="166"/>
                  </a:lnTo>
                  <a:lnTo>
                    <a:pt x="326" y="147"/>
                  </a:lnTo>
                  <a:lnTo>
                    <a:pt x="315" y="132"/>
                  </a:lnTo>
                  <a:lnTo>
                    <a:pt x="310" y="120"/>
                  </a:lnTo>
                  <a:lnTo>
                    <a:pt x="310" y="93"/>
                  </a:lnTo>
                  <a:lnTo>
                    <a:pt x="313" y="81"/>
                  </a:lnTo>
                  <a:lnTo>
                    <a:pt x="310" y="60"/>
                  </a:lnTo>
                  <a:lnTo>
                    <a:pt x="308" y="53"/>
                  </a:lnTo>
                  <a:lnTo>
                    <a:pt x="289" y="22"/>
                  </a:lnTo>
                  <a:lnTo>
                    <a:pt x="278" y="10"/>
                  </a:lnTo>
                  <a:lnTo>
                    <a:pt x="277" y="7"/>
                  </a:lnTo>
                  <a:lnTo>
                    <a:pt x="274" y="4"/>
                  </a:lnTo>
                  <a:lnTo>
                    <a:pt x="271" y="0"/>
                  </a:lnTo>
                  <a:lnTo>
                    <a:pt x="270" y="3"/>
                  </a:lnTo>
                  <a:lnTo>
                    <a:pt x="271" y="11"/>
                  </a:lnTo>
                  <a:lnTo>
                    <a:pt x="274" y="12"/>
                  </a:lnTo>
                  <a:lnTo>
                    <a:pt x="278" y="17"/>
                  </a:lnTo>
                  <a:lnTo>
                    <a:pt x="273" y="22"/>
                  </a:lnTo>
                  <a:lnTo>
                    <a:pt x="266" y="25"/>
                  </a:lnTo>
                  <a:lnTo>
                    <a:pt x="249" y="36"/>
                  </a:lnTo>
                  <a:lnTo>
                    <a:pt x="244" y="42"/>
                  </a:lnTo>
                  <a:lnTo>
                    <a:pt x="240" y="60"/>
                  </a:lnTo>
                  <a:lnTo>
                    <a:pt x="240" y="70"/>
                  </a:lnTo>
                  <a:lnTo>
                    <a:pt x="231" y="81"/>
                  </a:lnTo>
                  <a:lnTo>
                    <a:pt x="210" y="78"/>
                  </a:lnTo>
                  <a:lnTo>
                    <a:pt x="206" y="82"/>
                  </a:lnTo>
                  <a:lnTo>
                    <a:pt x="204" y="88"/>
                  </a:lnTo>
                  <a:lnTo>
                    <a:pt x="205" y="99"/>
                  </a:lnTo>
                  <a:lnTo>
                    <a:pt x="212" y="125"/>
                  </a:lnTo>
                  <a:lnTo>
                    <a:pt x="211" y="129"/>
                  </a:lnTo>
                  <a:lnTo>
                    <a:pt x="174" y="166"/>
                  </a:lnTo>
                  <a:lnTo>
                    <a:pt x="164" y="180"/>
                  </a:lnTo>
                  <a:lnTo>
                    <a:pt x="120" y="233"/>
                  </a:lnTo>
                  <a:lnTo>
                    <a:pt x="112" y="237"/>
                  </a:lnTo>
                  <a:lnTo>
                    <a:pt x="88" y="245"/>
                  </a:lnTo>
                  <a:lnTo>
                    <a:pt x="68" y="250"/>
                  </a:lnTo>
                  <a:lnTo>
                    <a:pt x="50" y="251"/>
                  </a:lnTo>
                  <a:lnTo>
                    <a:pt x="33" y="257"/>
                  </a:lnTo>
                  <a:lnTo>
                    <a:pt x="22" y="263"/>
                  </a:lnTo>
                  <a:lnTo>
                    <a:pt x="20" y="269"/>
                  </a:lnTo>
                  <a:lnTo>
                    <a:pt x="12" y="273"/>
                  </a:lnTo>
                  <a:lnTo>
                    <a:pt x="0" y="282"/>
                  </a:lnTo>
                  <a:lnTo>
                    <a:pt x="0" y="286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5" name="Freeform 23"/>
            <p:cNvSpPr>
              <a:spLocks/>
            </p:cNvSpPr>
            <p:nvPr/>
          </p:nvSpPr>
          <p:spPr bwMode="auto">
            <a:xfrm>
              <a:off x="4559300" y="3311525"/>
              <a:ext cx="438150" cy="909638"/>
            </a:xfrm>
            <a:custGeom>
              <a:avLst/>
              <a:gdLst>
                <a:gd name="T0" fmla="*/ 343986714 w 551"/>
                <a:gd name="T1" fmla="*/ 261010592 h 1147"/>
                <a:gd name="T2" fmla="*/ 310473408 w 551"/>
                <a:gd name="T3" fmla="*/ 342144433 h 1147"/>
                <a:gd name="T4" fmla="*/ 294032843 w 551"/>
                <a:gd name="T5" fmla="*/ 370446308 h 1147"/>
                <a:gd name="T6" fmla="*/ 285812163 w 551"/>
                <a:gd name="T7" fmla="*/ 410698781 h 1147"/>
                <a:gd name="T8" fmla="*/ 286444340 w 551"/>
                <a:gd name="T9" fmla="*/ 433340599 h 1147"/>
                <a:gd name="T10" fmla="*/ 283282662 w 551"/>
                <a:gd name="T11" fmla="*/ 494348204 h 1147"/>
                <a:gd name="T12" fmla="*/ 292135519 w 551"/>
                <a:gd name="T13" fmla="*/ 593091907 h 1147"/>
                <a:gd name="T14" fmla="*/ 294665020 w 551"/>
                <a:gd name="T15" fmla="*/ 606928397 h 1147"/>
                <a:gd name="T16" fmla="*/ 297826697 w 551"/>
                <a:gd name="T17" fmla="*/ 618249306 h 1147"/>
                <a:gd name="T18" fmla="*/ 293399872 w 551"/>
                <a:gd name="T19" fmla="*/ 637746647 h 1147"/>
                <a:gd name="T20" fmla="*/ 291503342 w 551"/>
                <a:gd name="T21" fmla="*/ 654728406 h 1147"/>
                <a:gd name="T22" fmla="*/ 282650485 w 551"/>
                <a:gd name="T23" fmla="*/ 660388464 h 1147"/>
                <a:gd name="T24" fmla="*/ 276959307 w 551"/>
                <a:gd name="T25" fmla="*/ 681143596 h 1147"/>
                <a:gd name="T26" fmla="*/ 288341664 w 551"/>
                <a:gd name="T27" fmla="*/ 686175552 h 1147"/>
                <a:gd name="T28" fmla="*/ 292135519 w 551"/>
                <a:gd name="T29" fmla="*/ 713219637 h 1147"/>
                <a:gd name="T30" fmla="*/ 283282662 w 551"/>
                <a:gd name="T31" fmla="*/ 717622697 h 1147"/>
                <a:gd name="T32" fmla="*/ 261783890 w 551"/>
                <a:gd name="T33" fmla="*/ 696238670 h 1147"/>
                <a:gd name="T34" fmla="*/ 251666680 w 551"/>
                <a:gd name="T35" fmla="*/ 691206714 h 1147"/>
                <a:gd name="T36" fmla="*/ 236490469 w 551"/>
                <a:gd name="T37" fmla="*/ 697496461 h 1147"/>
                <a:gd name="T38" fmla="*/ 223211581 w 551"/>
                <a:gd name="T39" fmla="*/ 698754251 h 1147"/>
                <a:gd name="T40" fmla="*/ 213726548 w 551"/>
                <a:gd name="T41" fmla="*/ 698125356 h 1147"/>
                <a:gd name="T42" fmla="*/ 135950550 w 551"/>
                <a:gd name="T43" fmla="*/ 698125356 h 1147"/>
                <a:gd name="T44" fmla="*/ 106231098 w 551"/>
                <a:gd name="T45" fmla="*/ 694980879 h 1147"/>
                <a:gd name="T46" fmla="*/ 81570648 w 551"/>
                <a:gd name="T47" fmla="*/ 658501778 h 1147"/>
                <a:gd name="T48" fmla="*/ 74614321 w 551"/>
                <a:gd name="T49" fmla="*/ 670451583 h 1147"/>
                <a:gd name="T50" fmla="*/ 12646711 w 551"/>
                <a:gd name="T51" fmla="*/ 641520812 h 1147"/>
                <a:gd name="T52" fmla="*/ 25293421 w 551"/>
                <a:gd name="T53" fmla="*/ 611960352 h 1147"/>
                <a:gd name="T54" fmla="*/ 5059002 w 551"/>
                <a:gd name="T55" fmla="*/ 598123862 h 1147"/>
                <a:gd name="T56" fmla="*/ 6323355 w 551"/>
                <a:gd name="T57" fmla="*/ 583028788 h 1147"/>
                <a:gd name="T58" fmla="*/ 8852857 w 551"/>
                <a:gd name="T59" fmla="*/ 565418926 h 1147"/>
                <a:gd name="T60" fmla="*/ 24028273 w 551"/>
                <a:gd name="T61" fmla="*/ 535858467 h 1147"/>
                <a:gd name="T62" fmla="*/ 36674984 w 551"/>
                <a:gd name="T63" fmla="*/ 517618917 h 1147"/>
                <a:gd name="T64" fmla="*/ 55645050 w 551"/>
                <a:gd name="T65" fmla="*/ 520134498 h 1147"/>
                <a:gd name="T66" fmla="*/ 79041147 w 551"/>
                <a:gd name="T67" fmla="*/ 496863785 h 1147"/>
                <a:gd name="T68" fmla="*/ 74614321 w 551"/>
                <a:gd name="T69" fmla="*/ 488687353 h 1147"/>
                <a:gd name="T70" fmla="*/ 60071081 w 551"/>
                <a:gd name="T71" fmla="*/ 468561909 h 1147"/>
                <a:gd name="T72" fmla="*/ 62600582 w 551"/>
                <a:gd name="T73" fmla="*/ 430196122 h 1147"/>
                <a:gd name="T74" fmla="*/ 51218224 w 551"/>
                <a:gd name="T75" fmla="*/ 410069886 h 1147"/>
                <a:gd name="T76" fmla="*/ 70188290 w 551"/>
                <a:gd name="T77" fmla="*/ 404409828 h 1147"/>
                <a:gd name="T78" fmla="*/ 83467177 w 551"/>
                <a:gd name="T79" fmla="*/ 393088919 h 1147"/>
                <a:gd name="T80" fmla="*/ 111290100 w 551"/>
                <a:gd name="T81" fmla="*/ 381138322 h 1147"/>
                <a:gd name="T82" fmla="*/ 111922276 w 551"/>
                <a:gd name="T83" fmla="*/ 366672937 h 1147"/>
                <a:gd name="T84" fmla="*/ 117612660 w 551"/>
                <a:gd name="T85" fmla="*/ 347175595 h 1147"/>
                <a:gd name="T86" fmla="*/ 138480051 w 551"/>
                <a:gd name="T87" fmla="*/ 344031119 h 1147"/>
                <a:gd name="T88" fmla="*/ 198551132 w 551"/>
                <a:gd name="T89" fmla="*/ 289942156 h 1147"/>
                <a:gd name="T90" fmla="*/ 178316713 w 551"/>
                <a:gd name="T91" fmla="*/ 229563447 h 1147"/>
                <a:gd name="T92" fmla="*/ 154920616 w 551"/>
                <a:gd name="T93" fmla="*/ 217613642 h 1147"/>
                <a:gd name="T94" fmla="*/ 140376580 w 551"/>
                <a:gd name="T95" fmla="*/ 224532284 h 1147"/>
                <a:gd name="T96" fmla="*/ 109392775 w 551"/>
                <a:gd name="T97" fmla="*/ 198116301 h 1147"/>
                <a:gd name="T98" fmla="*/ 92320034 w 551"/>
                <a:gd name="T99" fmla="*/ 181135335 h 1147"/>
                <a:gd name="T100" fmla="*/ 79041147 w 551"/>
                <a:gd name="T101" fmla="*/ 152832666 h 1147"/>
                <a:gd name="T102" fmla="*/ 54379902 w 551"/>
                <a:gd name="T103" fmla="*/ 134593909 h 1147"/>
                <a:gd name="T104" fmla="*/ 58174551 w 551"/>
                <a:gd name="T105" fmla="*/ 108806821 h 1147"/>
                <a:gd name="T106" fmla="*/ 51851196 w 551"/>
                <a:gd name="T107" fmla="*/ 89309480 h 1147"/>
                <a:gd name="T108" fmla="*/ 49321695 w 551"/>
                <a:gd name="T109" fmla="*/ 74844095 h 1147"/>
                <a:gd name="T110" fmla="*/ 25925598 w 551"/>
                <a:gd name="T111" fmla="*/ 19497341 h 1147"/>
                <a:gd name="T112" fmla="*/ 73982144 w 551"/>
                <a:gd name="T113" fmla="*/ 30189355 h 1147"/>
                <a:gd name="T114" fmla="*/ 112554453 w 551"/>
                <a:gd name="T115" fmla="*/ 150945980 h 1147"/>
                <a:gd name="T116" fmla="*/ 169463856 w 551"/>
                <a:gd name="T117" fmla="*/ 191827348 h 1147"/>
                <a:gd name="T118" fmla="*/ 219417727 w 551"/>
                <a:gd name="T119" fmla="*/ 214469166 h 1147"/>
                <a:gd name="T120" fmla="*/ 324384472 w 551"/>
                <a:gd name="T121" fmla="*/ 239626565 h 114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551"/>
                <a:gd name="T184" fmla="*/ 0 h 1147"/>
                <a:gd name="T185" fmla="*/ 551 w 551"/>
                <a:gd name="T186" fmla="*/ 1147 h 114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551" h="1147">
                  <a:moveTo>
                    <a:pt x="551" y="353"/>
                  </a:moveTo>
                  <a:lnTo>
                    <a:pt x="546" y="394"/>
                  </a:lnTo>
                  <a:lnTo>
                    <a:pt x="544" y="403"/>
                  </a:lnTo>
                  <a:lnTo>
                    <a:pt x="544" y="415"/>
                  </a:lnTo>
                  <a:lnTo>
                    <a:pt x="536" y="457"/>
                  </a:lnTo>
                  <a:lnTo>
                    <a:pt x="527" y="469"/>
                  </a:lnTo>
                  <a:lnTo>
                    <a:pt x="512" y="501"/>
                  </a:lnTo>
                  <a:lnTo>
                    <a:pt x="491" y="544"/>
                  </a:lnTo>
                  <a:lnTo>
                    <a:pt x="479" y="579"/>
                  </a:lnTo>
                  <a:lnTo>
                    <a:pt x="476" y="579"/>
                  </a:lnTo>
                  <a:lnTo>
                    <a:pt x="467" y="586"/>
                  </a:lnTo>
                  <a:lnTo>
                    <a:pt x="465" y="589"/>
                  </a:lnTo>
                  <a:lnTo>
                    <a:pt x="454" y="610"/>
                  </a:lnTo>
                  <a:lnTo>
                    <a:pt x="455" y="616"/>
                  </a:lnTo>
                  <a:lnTo>
                    <a:pt x="455" y="631"/>
                  </a:lnTo>
                  <a:lnTo>
                    <a:pt x="452" y="653"/>
                  </a:lnTo>
                  <a:lnTo>
                    <a:pt x="448" y="653"/>
                  </a:lnTo>
                  <a:lnTo>
                    <a:pt x="434" y="666"/>
                  </a:lnTo>
                  <a:lnTo>
                    <a:pt x="442" y="685"/>
                  </a:lnTo>
                  <a:lnTo>
                    <a:pt x="453" y="689"/>
                  </a:lnTo>
                  <a:lnTo>
                    <a:pt x="455" y="708"/>
                  </a:lnTo>
                  <a:lnTo>
                    <a:pt x="442" y="769"/>
                  </a:lnTo>
                  <a:lnTo>
                    <a:pt x="443" y="778"/>
                  </a:lnTo>
                  <a:lnTo>
                    <a:pt x="448" y="786"/>
                  </a:lnTo>
                  <a:lnTo>
                    <a:pt x="446" y="793"/>
                  </a:lnTo>
                  <a:lnTo>
                    <a:pt x="449" y="851"/>
                  </a:lnTo>
                  <a:lnTo>
                    <a:pt x="448" y="857"/>
                  </a:lnTo>
                  <a:lnTo>
                    <a:pt x="462" y="943"/>
                  </a:lnTo>
                  <a:lnTo>
                    <a:pt x="464" y="949"/>
                  </a:lnTo>
                  <a:lnTo>
                    <a:pt x="465" y="955"/>
                  </a:lnTo>
                  <a:lnTo>
                    <a:pt x="465" y="959"/>
                  </a:lnTo>
                  <a:lnTo>
                    <a:pt x="466" y="965"/>
                  </a:lnTo>
                  <a:lnTo>
                    <a:pt x="467" y="970"/>
                  </a:lnTo>
                  <a:lnTo>
                    <a:pt x="468" y="976"/>
                  </a:lnTo>
                  <a:lnTo>
                    <a:pt x="468" y="979"/>
                  </a:lnTo>
                  <a:lnTo>
                    <a:pt x="471" y="983"/>
                  </a:lnTo>
                  <a:lnTo>
                    <a:pt x="472" y="1007"/>
                  </a:lnTo>
                  <a:lnTo>
                    <a:pt x="471" y="1007"/>
                  </a:lnTo>
                  <a:lnTo>
                    <a:pt x="467" y="1008"/>
                  </a:lnTo>
                  <a:lnTo>
                    <a:pt x="464" y="1014"/>
                  </a:lnTo>
                  <a:lnTo>
                    <a:pt x="464" y="1026"/>
                  </a:lnTo>
                  <a:lnTo>
                    <a:pt x="465" y="1030"/>
                  </a:lnTo>
                  <a:lnTo>
                    <a:pt x="464" y="1037"/>
                  </a:lnTo>
                  <a:lnTo>
                    <a:pt x="461" y="1041"/>
                  </a:lnTo>
                  <a:lnTo>
                    <a:pt x="455" y="1041"/>
                  </a:lnTo>
                  <a:lnTo>
                    <a:pt x="454" y="1043"/>
                  </a:lnTo>
                  <a:lnTo>
                    <a:pt x="452" y="1043"/>
                  </a:lnTo>
                  <a:lnTo>
                    <a:pt x="447" y="1050"/>
                  </a:lnTo>
                  <a:lnTo>
                    <a:pt x="443" y="1059"/>
                  </a:lnTo>
                  <a:lnTo>
                    <a:pt x="447" y="1061"/>
                  </a:lnTo>
                  <a:lnTo>
                    <a:pt x="443" y="1066"/>
                  </a:lnTo>
                  <a:lnTo>
                    <a:pt x="438" y="1083"/>
                  </a:lnTo>
                  <a:lnTo>
                    <a:pt x="447" y="1093"/>
                  </a:lnTo>
                  <a:lnTo>
                    <a:pt x="450" y="1095"/>
                  </a:lnTo>
                  <a:lnTo>
                    <a:pt x="453" y="1090"/>
                  </a:lnTo>
                  <a:lnTo>
                    <a:pt x="456" y="1091"/>
                  </a:lnTo>
                  <a:lnTo>
                    <a:pt x="456" y="1104"/>
                  </a:lnTo>
                  <a:lnTo>
                    <a:pt x="458" y="1113"/>
                  </a:lnTo>
                  <a:lnTo>
                    <a:pt x="460" y="1126"/>
                  </a:lnTo>
                  <a:lnTo>
                    <a:pt x="462" y="1134"/>
                  </a:lnTo>
                  <a:lnTo>
                    <a:pt x="466" y="1139"/>
                  </a:lnTo>
                  <a:lnTo>
                    <a:pt x="468" y="1145"/>
                  </a:lnTo>
                  <a:lnTo>
                    <a:pt x="458" y="1147"/>
                  </a:lnTo>
                  <a:lnTo>
                    <a:pt x="448" y="1141"/>
                  </a:lnTo>
                  <a:lnTo>
                    <a:pt x="432" y="1127"/>
                  </a:lnTo>
                  <a:lnTo>
                    <a:pt x="425" y="1119"/>
                  </a:lnTo>
                  <a:lnTo>
                    <a:pt x="420" y="1116"/>
                  </a:lnTo>
                  <a:lnTo>
                    <a:pt x="414" y="1107"/>
                  </a:lnTo>
                  <a:lnTo>
                    <a:pt x="411" y="1104"/>
                  </a:lnTo>
                  <a:lnTo>
                    <a:pt x="404" y="1103"/>
                  </a:lnTo>
                  <a:lnTo>
                    <a:pt x="401" y="1099"/>
                  </a:lnTo>
                  <a:lnTo>
                    <a:pt x="398" y="1099"/>
                  </a:lnTo>
                  <a:lnTo>
                    <a:pt x="390" y="1107"/>
                  </a:lnTo>
                  <a:lnTo>
                    <a:pt x="388" y="1113"/>
                  </a:lnTo>
                  <a:lnTo>
                    <a:pt x="378" y="1111"/>
                  </a:lnTo>
                  <a:lnTo>
                    <a:pt x="374" y="1109"/>
                  </a:lnTo>
                  <a:lnTo>
                    <a:pt x="364" y="1110"/>
                  </a:lnTo>
                  <a:lnTo>
                    <a:pt x="359" y="1111"/>
                  </a:lnTo>
                  <a:lnTo>
                    <a:pt x="359" y="1109"/>
                  </a:lnTo>
                  <a:lnTo>
                    <a:pt x="353" y="1111"/>
                  </a:lnTo>
                  <a:lnTo>
                    <a:pt x="354" y="1109"/>
                  </a:lnTo>
                  <a:lnTo>
                    <a:pt x="342" y="1109"/>
                  </a:lnTo>
                  <a:lnTo>
                    <a:pt x="340" y="1110"/>
                  </a:lnTo>
                  <a:lnTo>
                    <a:pt x="338" y="1110"/>
                  </a:lnTo>
                  <a:lnTo>
                    <a:pt x="268" y="1116"/>
                  </a:lnTo>
                  <a:lnTo>
                    <a:pt x="269" y="1111"/>
                  </a:lnTo>
                  <a:lnTo>
                    <a:pt x="240" y="1117"/>
                  </a:lnTo>
                  <a:lnTo>
                    <a:pt x="215" y="1110"/>
                  </a:lnTo>
                  <a:lnTo>
                    <a:pt x="204" y="1114"/>
                  </a:lnTo>
                  <a:lnTo>
                    <a:pt x="190" y="1110"/>
                  </a:lnTo>
                  <a:lnTo>
                    <a:pt x="179" y="1109"/>
                  </a:lnTo>
                  <a:lnTo>
                    <a:pt x="168" y="1105"/>
                  </a:lnTo>
                  <a:lnTo>
                    <a:pt x="161" y="1096"/>
                  </a:lnTo>
                  <a:lnTo>
                    <a:pt x="159" y="1079"/>
                  </a:lnTo>
                  <a:lnTo>
                    <a:pt x="150" y="1061"/>
                  </a:lnTo>
                  <a:lnTo>
                    <a:pt x="129" y="1047"/>
                  </a:lnTo>
                  <a:lnTo>
                    <a:pt x="116" y="1045"/>
                  </a:lnTo>
                  <a:lnTo>
                    <a:pt x="116" y="1050"/>
                  </a:lnTo>
                  <a:lnTo>
                    <a:pt x="120" y="1060"/>
                  </a:lnTo>
                  <a:lnTo>
                    <a:pt x="118" y="1066"/>
                  </a:lnTo>
                  <a:lnTo>
                    <a:pt x="52" y="1039"/>
                  </a:lnTo>
                  <a:lnTo>
                    <a:pt x="27" y="1032"/>
                  </a:lnTo>
                  <a:lnTo>
                    <a:pt x="23" y="1029"/>
                  </a:lnTo>
                  <a:lnTo>
                    <a:pt x="20" y="1020"/>
                  </a:lnTo>
                  <a:lnTo>
                    <a:pt x="24" y="999"/>
                  </a:lnTo>
                  <a:lnTo>
                    <a:pt x="36" y="995"/>
                  </a:lnTo>
                  <a:lnTo>
                    <a:pt x="39" y="994"/>
                  </a:lnTo>
                  <a:lnTo>
                    <a:pt x="40" y="973"/>
                  </a:lnTo>
                  <a:lnTo>
                    <a:pt x="26" y="960"/>
                  </a:lnTo>
                  <a:lnTo>
                    <a:pt x="24" y="953"/>
                  </a:lnTo>
                  <a:lnTo>
                    <a:pt x="22" y="948"/>
                  </a:lnTo>
                  <a:lnTo>
                    <a:pt x="8" y="951"/>
                  </a:lnTo>
                  <a:lnTo>
                    <a:pt x="5" y="949"/>
                  </a:lnTo>
                  <a:lnTo>
                    <a:pt x="2" y="943"/>
                  </a:lnTo>
                  <a:lnTo>
                    <a:pt x="0" y="937"/>
                  </a:lnTo>
                  <a:lnTo>
                    <a:pt x="10" y="927"/>
                  </a:lnTo>
                  <a:lnTo>
                    <a:pt x="8" y="915"/>
                  </a:lnTo>
                  <a:lnTo>
                    <a:pt x="2" y="910"/>
                  </a:lnTo>
                  <a:lnTo>
                    <a:pt x="6" y="904"/>
                  </a:lnTo>
                  <a:lnTo>
                    <a:pt x="14" y="899"/>
                  </a:lnTo>
                  <a:lnTo>
                    <a:pt x="29" y="906"/>
                  </a:lnTo>
                  <a:lnTo>
                    <a:pt x="33" y="905"/>
                  </a:lnTo>
                  <a:lnTo>
                    <a:pt x="38" y="901"/>
                  </a:lnTo>
                  <a:lnTo>
                    <a:pt x="38" y="852"/>
                  </a:lnTo>
                  <a:lnTo>
                    <a:pt x="47" y="829"/>
                  </a:lnTo>
                  <a:lnTo>
                    <a:pt x="50" y="827"/>
                  </a:lnTo>
                  <a:lnTo>
                    <a:pt x="56" y="823"/>
                  </a:lnTo>
                  <a:lnTo>
                    <a:pt x="58" y="823"/>
                  </a:lnTo>
                  <a:lnTo>
                    <a:pt x="65" y="823"/>
                  </a:lnTo>
                  <a:lnTo>
                    <a:pt x="70" y="822"/>
                  </a:lnTo>
                  <a:lnTo>
                    <a:pt x="74" y="822"/>
                  </a:lnTo>
                  <a:lnTo>
                    <a:pt x="88" y="827"/>
                  </a:lnTo>
                  <a:lnTo>
                    <a:pt x="93" y="827"/>
                  </a:lnTo>
                  <a:lnTo>
                    <a:pt x="101" y="816"/>
                  </a:lnTo>
                  <a:lnTo>
                    <a:pt x="122" y="814"/>
                  </a:lnTo>
                  <a:lnTo>
                    <a:pt x="125" y="790"/>
                  </a:lnTo>
                  <a:lnTo>
                    <a:pt x="129" y="787"/>
                  </a:lnTo>
                  <a:lnTo>
                    <a:pt x="126" y="784"/>
                  </a:lnTo>
                  <a:lnTo>
                    <a:pt x="123" y="784"/>
                  </a:lnTo>
                  <a:lnTo>
                    <a:pt x="118" y="777"/>
                  </a:lnTo>
                  <a:lnTo>
                    <a:pt x="105" y="766"/>
                  </a:lnTo>
                  <a:lnTo>
                    <a:pt x="102" y="763"/>
                  </a:lnTo>
                  <a:lnTo>
                    <a:pt x="98" y="761"/>
                  </a:lnTo>
                  <a:lnTo>
                    <a:pt x="95" y="745"/>
                  </a:lnTo>
                  <a:lnTo>
                    <a:pt x="94" y="725"/>
                  </a:lnTo>
                  <a:lnTo>
                    <a:pt x="101" y="706"/>
                  </a:lnTo>
                  <a:lnTo>
                    <a:pt x="106" y="696"/>
                  </a:lnTo>
                  <a:lnTo>
                    <a:pt x="99" y="684"/>
                  </a:lnTo>
                  <a:lnTo>
                    <a:pt x="95" y="667"/>
                  </a:lnTo>
                  <a:lnTo>
                    <a:pt x="81" y="664"/>
                  </a:lnTo>
                  <a:lnTo>
                    <a:pt x="78" y="663"/>
                  </a:lnTo>
                  <a:lnTo>
                    <a:pt x="81" y="652"/>
                  </a:lnTo>
                  <a:lnTo>
                    <a:pt x="95" y="643"/>
                  </a:lnTo>
                  <a:lnTo>
                    <a:pt x="104" y="643"/>
                  </a:lnTo>
                  <a:lnTo>
                    <a:pt x="105" y="646"/>
                  </a:lnTo>
                  <a:lnTo>
                    <a:pt x="111" y="643"/>
                  </a:lnTo>
                  <a:lnTo>
                    <a:pt x="117" y="639"/>
                  </a:lnTo>
                  <a:lnTo>
                    <a:pt x="118" y="631"/>
                  </a:lnTo>
                  <a:lnTo>
                    <a:pt x="122" y="627"/>
                  </a:lnTo>
                  <a:lnTo>
                    <a:pt x="132" y="625"/>
                  </a:lnTo>
                  <a:lnTo>
                    <a:pt x="142" y="616"/>
                  </a:lnTo>
                  <a:lnTo>
                    <a:pt x="149" y="610"/>
                  </a:lnTo>
                  <a:lnTo>
                    <a:pt x="162" y="606"/>
                  </a:lnTo>
                  <a:lnTo>
                    <a:pt x="176" y="606"/>
                  </a:lnTo>
                  <a:lnTo>
                    <a:pt x="177" y="603"/>
                  </a:lnTo>
                  <a:lnTo>
                    <a:pt x="176" y="600"/>
                  </a:lnTo>
                  <a:lnTo>
                    <a:pt x="176" y="589"/>
                  </a:lnTo>
                  <a:lnTo>
                    <a:pt x="177" y="583"/>
                  </a:lnTo>
                  <a:lnTo>
                    <a:pt x="177" y="576"/>
                  </a:lnTo>
                  <a:lnTo>
                    <a:pt x="177" y="567"/>
                  </a:lnTo>
                  <a:lnTo>
                    <a:pt x="185" y="559"/>
                  </a:lnTo>
                  <a:lnTo>
                    <a:pt x="186" y="552"/>
                  </a:lnTo>
                  <a:lnTo>
                    <a:pt x="191" y="552"/>
                  </a:lnTo>
                  <a:lnTo>
                    <a:pt x="201" y="551"/>
                  </a:lnTo>
                  <a:lnTo>
                    <a:pt x="208" y="555"/>
                  </a:lnTo>
                  <a:lnTo>
                    <a:pt x="219" y="547"/>
                  </a:lnTo>
                  <a:lnTo>
                    <a:pt x="224" y="547"/>
                  </a:lnTo>
                  <a:lnTo>
                    <a:pt x="272" y="508"/>
                  </a:lnTo>
                  <a:lnTo>
                    <a:pt x="314" y="474"/>
                  </a:lnTo>
                  <a:lnTo>
                    <a:pt x="314" y="461"/>
                  </a:lnTo>
                  <a:lnTo>
                    <a:pt x="286" y="460"/>
                  </a:lnTo>
                  <a:lnTo>
                    <a:pt x="285" y="442"/>
                  </a:lnTo>
                  <a:lnTo>
                    <a:pt x="282" y="430"/>
                  </a:lnTo>
                  <a:lnTo>
                    <a:pt x="282" y="365"/>
                  </a:lnTo>
                  <a:lnTo>
                    <a:pt x="280" y="352"/>
                  </a:lnTo>
                  <a:lnTo>
                    <a:pt x="268" y="347"/>
                  </a:lnTo>
                  <a:lnTo>
                    <a:pt x="250" y="346"/>
                  </a:lnTo>
                  <a:lnTo>
                    <a:pt x="245" y="346"/>
                  </a:lnTo>
                  <a:lnTo>
                    <a:pt x="236" y="349"/>
                  </a:lnTo>
                  <a:lnTo>
                    <a:pt x="233" y="353"/>
                  </a:lnTo>
                  <a:lnTo>
                    <a:pt x="226" y="359"/>
                  </a:lnTo>
                  <a:lnTo>
                    <a:pt x="222" y="357"/>
                  </a:lnTo>
                  <a:lnTo>
                    <a:pt x="210" y="339"/>
                  </a:lnTo>
                  <a:lnTo>
                    <a:pt x="196" y="337"/>
                  </a:lnTo>
                  <a:lnTo>
                    <a:pt x="179" y="340"/>
                  </a:lnTo>
                  <a:lnTo>
                    <a:pt x="173" y="315"/>
                  </a:lnTo>
                  <a:lnTo>
                    <a:pt x="168" y="311"/>
                  </a:lnTo>
                  <a:lnTo>
                    <a:pt x="154" y="295"/>
                  </a:lnTo>
                  <a:lnTo>
                    <a:pt x="150" y="294"/>
                  </a:lnTo>
                  <a:lnTo>
                    <a:pt x="146" y="288"/>
                  </a:lnTo>
                  <a:lnTo>
                    <a:pt x="136" y="287"/>
                  </a:lnTo>
                  <a:lnTo>
                    <a:pt x="134" y="270"/>
                  </a:lnTo>
                  <a:lnTo>
                    <a:pt x="135" y="249"/>
                  </a:lnTo>
                  <a:lnTo>
                    <a:pt x="125" y="243"/>
                  </a:lnTo>
                  <a:lnTo>
                    <a:pt x="130" y="226"/>
                  </a:lnTo>
                  <a:lnTo>
                    <a:pt x="102" y="216"/>
                  </a:lnTo>
                  <a:lnTo>
                    <a:pt x="90" y="216"/>
                  </a:lnTo>
                  <a:lnTo>
                    <a:pt x="86" y="214"/>
                  </a:lnTo>
                  <a:lnTo>
                    <a:pt x="88" y="190"/>
                  </a:lnTo>
                  <a:lnTo>
                    <a:pt x="95" y="180"/>
                  </a:lnTo>
                  <a:lnTo>
                    <a:pt x="96" y="177"/>
                  </a:lnTo>
                  <a:lnTo>
                    <a:pt x="92" y="173"/>
                  </a:lnTo>
                  <a:lnTo>
                    <a:pt x="89" y="168"/>
                  </a:lnTo>
                  <a:lnTo>
                    <a:pt x="71" y="161"/>
                  </a:lnTo>
                  <a:lnTo>
                    <a:pt x="74" y="150"/>
                  </a:lnTo>
                  <a:lnTo>
                    <a:pt x="82" y="142"/>
                  </a:lnTo>
                  <a:lnTo>
                    <a:pt x="84" y="127"/>
                  </a:lnTo>
                  <a:lnTo>
                    <a:pt x="82" y="125"/>
                  </a:lnTo>
                  <a:lnTo>
                    <a:pt x="83" y="123"/>
                  </a:lnTo>
                  <a:lnTo>
                    <a:pt x="78" y="119"/>
                  </a:lnTo>
                  <a:lnTo>
                    <a:pt x="69" y="93"/>
                  </a:lnTo>
                  <a:lnTo>
                    <a:pt x="64" y="58"/>
                  </a:lnTo>
                  <a:lnTo>
                    <a:pt x="48" y="49"/>
                  </a:lnTo>
                  <a:lnTo>
                    <a:pt x="41" y="31"/>
                  </a:lnTo>
                  <a:lnTo>
                    <a:pt x="66" y="0"/>
                  </a:lnTo>
                  <a:lnTo>
                    <a:pt x="71" y="6"/>
                  </a:lnTo>
                  <a:lnTo>
                    <a:pt x="94" y="18"/>
                  </a:lnTo>
                  <a:lnTo>
                    <a:pt x="117" y="48"/>
                  </a:lnTo>
                  <a:lnTo>
                    <a:pt x="125" y="97"/>
                  </a:lnTo>
                  <a:lnTo>
                    <a:pt x="134" y="151"/>
                  </a:lnTo>
                  <a:lnTo>
                    <a:pt x="160" y="185"/>
                  </a:lnTo>
                  <a:lnTo>
                    <a:pt x="178" y="240"/>
                  </a:lnTo>
                  <a:lnTo>
                    <a:pt x="209" y="276"/>
                  </a:lnTo>
                  <a:lnTo>
                    <a:pt x="255" y="289"/>
                  </a:lnTo>
                  <a:lnTo>
                    <a:pt x="255" y="295"/>
                  </a:lnTo>
                  <a:lnTo>
                    <a:pt x="268" y="305"/>
                  </a:lnTo>
                  <a:lnTo>
                    <a:pt x="286" y="304"/>
                  </a:lnTo>
                  <a:lnTo>
                    <a:pt x="334" y="330"/>
                  </a:lnTo>
                  <a:lnTo>
                    <a:pt x="342" y="330"/>
                  </a:lnTo>
                  <a:lnTo>
                    <a:pt x="347" y="341"/>
                  </a:lnTo>
                  <a:lnTo>
                    <a:pt x="419" y="341"/>
                  </a:lnTo>
                  <a:lnTo>
                    <a:pt x="465" y="354"/>
                  </a:lnTo>
                  <a:lnTo>
                    <a:pt x="486" y="376"/>
                  </a:lnTo>
                  <a:lnTo>
                    <a:pt x="513" y="381"/>
                  </a:lnTo>
                  <a:lnTo>
                    <a:pt x="551" y="353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6" name="Freeform 24"/>
            <p:cNvSpPr>
              <a:spLocks/>
            </p:cNvSpPr>
            <p:nvPr/>
          </p:nvSpPr>
          <p:spPr bwMode="auto">
            <a:xfrm>
              <a:off x="3944938" y="3736975"/>
              <a:ext cx="512762" cy="669925"/>
            </a:xfrm>
            <a:custGeom>
              <a:avLst/>
              <a:gdLst>
                <a:gd name="T0" fmla="*/ 40197529 w 647"/>
                <a:gd name="T1" fmla="*/ 355553753 h 843"/>
                <a:gd name="T2" fmla="*/ 59669012 w 647"/>
                <a:gd name="T3" fmla="*/ 319556609 h 843"/>
                <a:gd name="T4" fmla="*/ 47106740 w 647"/>
                <a:gd name="T5" fmla="*/ 352396444 h 843"/>
                <a:gd name="T6" fmla="*/ 55272098 w 647"/>
                <a:gd name="T7" fmla="*/ 365658257 h 843"/>
                <a:gd name="T8" fmla="*/ 77255085 w 647"/>
                <a:gd name="T9" fmla="*/ 341028381 h 843"/>
                <a:gd name="T10" fmla="*/ 70346667 w 647"/>
                <a:gd name="T11" fmla="*/ 397235327 h 843"/>
                <a:gd name="T12" fmla="*/ 96098097 w 647"/>
                <a:gd name="T13" fmla="*/ 385868058 h 843"/>
                <a:gd name="T14" fmla="*/ 107403430 w 647"/>
                <a:gd name="T15" fmla="*/ 357448298 h 843"/>
                <a:gd name="T16" fmla="*/ 136295627 w 647"/>
                <a:gd name="T17" fmla="*/ 372605451 h 843"/>
                <a:gd name="T18" fmla="*/ 123734146 w 647"/>
                <a:gd name="T19" fmla="*/ 413655244 h 843"/>
                <a:gd name="T20" fmla="*/ 103634986 w 647"/>
                <a:gd name="T21" fmla="*/ 425654292 h 843"/>
                <a:gd name="T22" fmla="*/ 75998937 w 647"/>
                <a:gd name="T23" fmla="*/ 439547885 h 843"/>
                <a:gd name="T24" fmla="*/ 71602815 w 647"/>
                <a:gd name="T25" fmla="*/ 451546933 h 843"/>
                <a:gd name="T26" fmla="*/ 77255085 w 647"/>
                <a:gd name="T27" fmla="*/ 469230410 h 843"/>
                <a:gd name="T28" fmla="*/ 58412864 w 647"/>
                <a:gd name="T29" fmla="*/ 481229458 h 843"/>
                <a:gd name="T30" fmla="*/ 58412864 w 647"/>
                <a:gd name="T31" fmla="*/ 512806528 h 843"/>
                <a:gd name="T32" fmla="*/ 109288048 w 647"/>
                <a:gd name="T33" fmla="*/ 531120990 h 843"/>
                <a:gd name="T34" fmla="*/ 147601751 w 647"/>
                <a:gd name="T35" fmla="*/ 524805576 h 843"/>
                <a:gd name="T36" fmla="*/ 173981652 w 647"/>
                <a:gd name="T37" fmla="*/ 508385659 h 843"/>
                <a:gd name="T38" fmla="*/ 195336169 w 647"/>
                <a:gd name="T39" fmla="*/ 493860286 h 843"/>
                <a:gd name="T40" fmla="*/ 197849257 w 647"/>
                <a:gd name="T41" fmla="*/ 477440369 h 843"/>
                <a:gd name="T42" fmla="*/ 166443972 w 647"/>
                <a:gd name="T43" fmla="*/ 451546933 h 843"/>
                <a:gd name="T44" fmla="*/ 177121626 w 647"/>
                <a:gd name="T45" fmla="*/ 401656196 h 843"/>
                <a:gd name="T46" fmla="*/ 210410738 w 647"/>
                <a:gd name="T47" fmla="*/ 379552644 h 843"/>
                <a:gd name="T48" fmla="*/ 233649872 w 647"/>
                <a:gd name="T49" fmla="*/ 368816361 h 843"/>
                <a:gd name="T50" fmla="*/ 248724441 w 647"/>
                <a:gd name="T51" fmla="*/ 355553753 h 843"/>
                <a:gd name="T52" fmla="*/ 273219724 w 647"/>
                <a:gd name="T53" fmla="*/ 382078174 h 843"/>
                <a:gd name="T54" fmla="*/ 288294292 w 647"/>
                <a:gd name="T55" fmla="*/ 406708050 h 843"/>
                <a:gd name="T56" fmla="*/ 310905749 w 647"/>
                <a:gd name="T57" fmla="*/ 410497934 h 843"/>
                <a:gd name="T58" fmla="*/ 339169476 w 647"/>
                <a:gd name="T59" fmla="*/ 430075161 h 843"/>
                <a:gd name="T60" fmla="*/ 363664759 w 647"/>
                <a:gd name="T61" fmla="*/ 390288133 h 843"/>
                <a:gd name="T62" fmla="*/ 358640167 w 647"/>
                <a:gd name="T63" fmla="*/ 364395492 h 843"/>
                <a:gd name="T64" fmla="*/ 364293229 w 647"/>
                <a:gd name="T65" fmla="*/ 333450202 h 843"/>
                <a:gd name="T66" fmla="*/ 352987897 w 647"/>
                <a:gd name="T67" fmla="*/ 315767520 h 843"/>
                <a:gd name="T68" fmla="*/ 325979526 w 647"/>
                <a:gd name="T69" fmla="*/ 336608306 h 843"/>
                <a:gd name="T70" fmla="*/ 307764983 w 647"/>
                <a:gd name="T71" fmla="*/ 344186485 h 843"/>
                <a:gd name="T72" fmla="*/ 276988168 w 647"/>
                <a:gd name="T73" fmla="*/ 318293844 h 843"/>
                <a:gd name="T74" fmla="*/ 258773625 w 647"/>
                <a:gd name="T75" fmla="*/ 308820326 h 843"/>
                <a:gd name="T76" fmla="*/ 243071379 w 647"/>
                <a:gd name="T77" fmla="*/ 257666029 h 843"/>
                <a:gd name="T78" fmla="*/ 239302935 w 647"/>
                <a:gd name="T79" fmla="*/ 241877891 h 843"/>
                <a:gd name="T80" fmla="*/ 274475872 w 647"/>
                <a:gd name="T81" fmla="*/ 227352519 h 843"/>
                <a:gd name="T82" fmla="*/ 341054094 w 647"/>
                <a:gd name="T83" fmla="*/ 174303677 h 843"/>
                <a:gd name="T84" fmla="*/ 361152463 w 647"/>
                <a:gd name="T85" fmla="*/ 121254836 h 843"/>
                <a:gd name="T86" fmla="*/ 385020068 w 647"/>
                <a:gd name="T87" fmla="*/ 95993180 h 843"/>
                <a:gd name="T88" fmla="*/ 403863081 w 647"/>
                <a:gd name="T89" fmla="*/ 77046938 h 843"/>
                <a:gd name="T90" fmla="*/ 395070044 w 647"/>
                <a:gd name="T91" fmla="*/ 69468759 h 843"/>
                <a:gd name="T92" fmla="*/ 354871723 w 647"/>
                <a:gd name="T93" fmla="*/ 37891689 h 843"/>
                <a:gd name="T94" fmla="*/ 329747970 w 647"/>
                <a:gd name="T95" fmla="*/ 44838883 h 843"/>
                <a:gd name="T96" fmla="*/ 318442637 w 647"/>
                <a:gd name="T97" fmla="*/ 30945290 h 843"/>
                <a:gd name="T98" fmla="*/ 307764983 w 647"/>
                <a:gd name="T99" fmla="*/ 27787186 h 843"/>
                <a:gd name="T100" fmla="*/ 295831181 w 647"/>
                <a:gd name="T101" fmla="*/ 15157152 h 843"/>
                <a:gd name="T102" fmla="*/ 258145947 w 647"/>
                <a:gd name="T103" fmla="*/ 5683634 h 843"/>
                <a:gd name="T104" fmla="*/ 189055429 w 647"/>
                <a:gd name="T105" fmla="*/ 8209959 h 843"/>
                <a:gd name="T106" fmla="*/ 217947626 w 647"/>
                <a:gd name="T107" fmla="*/ 80205042 h 843"/>
                <a:gd name="T108" fmla="*/ 189055429 w 647"/>
                <a:gd name="T109" fmla="*/ 101676814 h 843"/>
                <a:gd name="T110" fmla="*/ 135667949 w 647"/>
                <a:gd name="T111" fmla="*/ 98519504 h 843"/>
                <a:gd name="T112" fmla="*/ 96098097 w 647"/>
                <a:gd name="T113" fmla="*/ 109886773 h 843"/>
                <a:gd name="T114" fmla="*/ 65949752 w 647"/>
                <a:gd name="T115" fmla="*/ 138305738 h 843"/>
                <a:gd name="T116" fmla="*/ 43338296 w 647"/>
                <a:gd name="T117" fmla="*/ 187565490 h 843"/>
                <a:gd name="T118" fmla="*/ 29520667 w 647"/>
                <a:gd name="T119" fmla="*/ 207775292 h 843"/>
                <a:gd name="T120" fmla="*/ 10049184 w 647"/>
                <a:gd name="T121" fmla="*/ 253245160 h 84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47"/>
                <a:gd name="T184" fmla="*/ 0 h 843"/>
                <a:gd name="T185" fmla="*/ 647 w 647"/>
                <a:gd name="T186" fmla="*/ 843 h 84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47" h="843">
                  <a:moveTo>
                    <a:pt x="0" y="518"/>
                  </a:moveTo>
                  <a:lnTo>
                    <a:pt x="1" y="536"/>
                  </a:lnTo>
                  <a:lnTo>
                    <a:pt x="4" y="561"/>
                  </a:lnTo>
                  <a:lnTo>
                    <a:pt x="54" y="561"/>
                  </a:lnTo>
                  <a:lnTo>
                    <a:pt x="64" y="563"/>
                  </a:lnTo>
                  <a:lnTo>
                    <a:pt x="64" y="549"/>
                  </a:lnTo>
                  <a:lnTo>
                    <a:pt x="47" y="541"/>
                  </a:lnTo>
                  <a:lnTo>
                    <a:pt x="46" y="497"/>
                  </a:lnTo>
                  <a:lnTo>
                    <a:pt x="48" y="494"/>
                  </a:lnTo>
                  <a:lnTo>
                    <a:pt x="95" y="506"/>
                  </a:lnTo>
                  <a:lnTo>
                    <a:pt x="93" y="529"/>
                  </a:lnTo>
                  <a:lnTo>
                    <a:pt x="76" y="537"/>
                  </a:lnTo>
                  <a:lnTo>
                    <a:pt x="79" y="555"/>
                  </a:lnTo>
                  <a:lnTo>
                    <a:pt x="76" y="555"/>
                  </a:lnTo>
                  <a:lnTo>
                    <a:pt x="75" y="558"/>
                  </a:lnTo>
                  <a:lnTo>
                    <a:pt x="77" y="566"/>
                  </a:lnTo>
                  <a:lnTo>
                    <a:pt x="75" y="608"/>
                  </a:lnTo>
                  <a:lnTo>
                    <a:pt x="83" y="605"/>
                  </a:lnTo>
                  <a:lnTo>
                    <a:pt x="88" y="583"/>
                  </a:lnTo>
                  <a:lnTo>
                    <a:pt x="88" y="579"/>
                  </a:lnTo>
                  <a:lnTo>
                    <a:pt x="93" y="564"/>
                  </a:lnTo>
                  <a:lnTo>
                    <a:pt x="96" y="535"/>
                  </a:lnTo>
                  <a:lnTo>
                    <a:pt x="100" y="534"/>
                  </a:lnTo>
                  <a:lnTo>
                    <a:pt x="106" y="537"/>
                  </a:lnTo>
                  <a:lnTo>
                    <a:pt x="123" y="540"/>
                  </a:lnTo>
                  <a:lnTo>
                    <a:pt x="121" y="542"/>
                  </a:lnTo>
                  <a:lnTo>
                    <a:pt x="129" y="547"/>
                  </a:lnTo>
                  <a:lnTo>
                    <a:pt x="123" y="570"/>
                  </a:lnTo>
                  <a:lnTo>
                    <a:pt x="112" y="601"/>
                  </a:lnTo>
                  <a:lnTo>
                    <a:pt x="112" y="629"/>
                  </a:lnTo>
                  <a:lnTo>
                    <a:pt x="133" y="632"/>
                  </a:lnTo>
                  <a:lnTo>
                    <a:pt x="141" y="630"/>
                  </a:lnTo>
                  <a:lnTo>
                    <a:pt x="142" y="626"/>
                  </a:lnTo>
                  <a:lnTo>
                    <a:pt x="147" y="621"/>
                  </a:lnTo>
                  <a:lnTo>
                    <a:pt x="153" y="611"/>
                  </a:lnTo>
                  <a:lnTo>
                    <a:pt x="153" y="603"/>
                  </a:lnTo>
                  <a:lnTo>
                    <a:pt x="150" y="594"/>
                  </a:lnTo>
                  <a:lnTo>
                    <a:pt x="150" y="583"/>
                  </a:lnTo>
                  <a:lnTo>
                    <a:pt x="165" y="569"/>
                  </a:lnTo>
                  <a:lnTo>
                    <a:pt x="171" y="566"/>
                  </a:lnTo>
                  <a:lnTo>
                    <a:pt x="192" y="566"/>
                  </a:lnTo>
                  <a:lnTo>
                    <a:pt x="202" y="571"/>
                  </a:lnTo>
                  <a:lnTo>
                    <a:pt x="207" y="571"/>
                  </a:lnTo>
                  <a:lnTo>
                    <a:pt x="216" y="578"/>
                  </a:lnTo>
                  <a:lnTo>
                    <a:pt x="217" y="590"/>
                  </a:lnTo>
                  <a:lnTo>
                    <a:pt x="215" y="600"/>
                  </a:lnTo>
                  <a:lnTo>
                    <a:pt x="203" y="620"/>
                  </a:lnTo>
                  <a:lnTo>
                    <a:pt x="198" y="641"/>
                  </a:lnTo>
                  <a:lnTo>
                    <a:pt x="196" y="645"/>
                  </a:lnTo>
                  <a:lnTo>
                    <a:pt x="197" y="655"/>
                  </a:lnTo>
                  <a:lnTo>
                    <a:pt x="192" y="666"/>
                  </a:lnTo>
                  <a:lnTo>
                    <a:pt x="187" y="667"/>
                  </a:lnTo>
                  <a:lnTo>
                    <a:pt x="183" y="667"/>
                  </a:lnTo>
                  <a:lnTo>
                    <a:pt x="180" y="666"/>
                  </a:lnTo>
                  <a:lnTo>
                    <a:pt x="165" y="674"/>
                  </a:lnTo>
                  <a:lnTo>
                    <a:pt x="148" y="695"/>
                  </a:lnTo>
                  <a:lnTo>
                    <a:pt x="139" y="693"/>
                  </a:lnTo>
                  <a:lnTo>
                    <a:pt x="131" y="695"/>
                  </a:lnTo>
                  <a:lnTo>
                    <a:pt x="125" y="690"/>
                  </a:lnTo>
                  <a:lnTo>
                    <a:pt x="121" y="696"/>
                  </a:lnTo>
                  <a:lnTo>
                    <a:pt x="125" y="709"/>
                  </a:lnTo>
                  <a:lnTo>
                    <a:pt x="124" y="717"/>
                  </a:lnTo>
                  <a:lnTo>
                    <a:pt x="119" y="716"/>
                  </a:lnTo>
                  <a:lnTo>
                    <a:pt x="115" y="711"/>
                  </a:lnTo>
                  <a:lnTo>
                    <a:pt x="114" y="715"/>
                  </a:lnTo>
                  <a:lnTo>
                    <a:pt x="117" y="723"/>
                  </a:lnTo>
                  <a:lnTo>
                    <a:pt x="117" y="733"/>
                  </a:lnTo>
                  <a:lnTo>
                    <a:pt x="114" y="737"/>
                  </a:lnTo>
                  <a:lnTo>
                    <a:pt x="117" y="739"/>
                  </a:lnTo>
                  <a:lnTo>
                    <a:pt x="123" y="743"/>
                  </a:lnTo>
                  <a:lnTo>
                    <a:pt x="112" y="753"/>
                  </a:lnTo>
                  <a:lnTo>
                    <a:pt x="107" y="747"/>
                  </a:lnTo>
                  <a:lnTo>
                    <a:pt x="105" y="757"/>
                  </a:lnTo>
                  <a:lnTo>
                    <a:pt x="100" y="756"/>
                  </a:lnTo>
                  <a:lnTo>
                    <a:pt x="93" y="762"/>
                  </a:lnTo>
                  <a:lnTo>
                    <a:pt x="93" y="769"/>
                  </a:lnTo>
                  <a:lnTo>
                    <a:pt x="85" y="781"/>
                  </a:lnTo>
                  <a:lnTo>
                    <a:pt x="81" y="803"/>
                  </a:lnTo>
                  <a:lnTo>
                    <a:pt x="77" y="809"/>
                  </a:lnTo>
                  <a:lnTo>
                    <a:pt x="93" y="812"/>
                  </a:lnTo>
                  <a:lnTo>
                    <a:pt x="119" y="810"/>
                  </a:lnTo>
                  <a:lnTo>
                    <a:pt x="120" y="819"/>
                  </a:lnTo>
                  <a:lnTo>
                    <a:pt x="123" y="823"/>
                  </a:lnTo>
                  <a:lnTo>
                    <a:pt x="167" y="829"/>
                  </a:lnTo>
                  <a:lnTo>
                    <a:pt x="174" y="841"/>
                  </a:lnTo>
                  <a:lnTo>
                    <a:pt x="196" y="840"/>
                  </a:lnTo>
                  <a:lnTo>
                    <a:pt x="205" y="836"/>
                  </a:lnTo>
                  <a:lnTo>
                    <a:pt x="223" y="843"/>
                  </a:lnTo>
                  <a:lnTo>
                    <a:pt x="235" y="842"/>
                  </a:lnTo>
                  <a:lnTo>
                    <a:pt x="235" y="831"/>
                  </a:lnTo>
                  <a:lnTo>
                    <a:pt x="232" y="811"/>
                  </a:lnTo>
                  <a:lnTo>
                    <a:pt x="239" y="801"/>
                  </a:lnTo>
                  <a:lnTo>
                    <a:pt x="251" y="806"/>
                  </a:lnTo>
                  <a:lnTo>
                    <a:pt x="268" y="807"/>
                  </a:lnTo>
                  <a:lnTo>
                    <a:pt x="277" y="805"/>
                  </a:lnTo>
                  <a:lnTo>
                    <a:pt x="281" y="797"/>
                  </a:lnTo>
                  <a:lnTo>
                    <a:pt x="300" y="793"/>
                  </a:lnTo>
                  <a:lnTo>
                    <a:pt x="303" y="781"/>
                  </a:lnTo>
                  <a:lnTo>
                    <a:pt x="307" y="779"/>
                  </a:lnTo>
                  <a:lnTo>
                    <a:pt x="311" y="782"/>
                  </a:lnTo>
                  <a:lnTo>
                    <a:pt x="312" y="793"/>
                  </a:lnTo>
                  <a:lnTo>
                    <a:pt x="315" y="791"/>
                  </a:lnTo>
                  <a:lnTo>
                    <a:pt x="318" y="779"/>
                  </a:lnTo>
                  <a:lnTo>
                    <a:pt x="318" y="761"/>
                  </a:lnTo>
                  <a:lnTo>
                    <a:pt x="315" y="756"/>
                  </a:lnTo>
                  <a:lnTo>
                    <a:pt x="307" y="753"/>
                  </a:lnTo>
                  <a:lnTo>
                    <a:pt x="298" y="743"/>
                  </a:lnTo>
                  <a:lnTo>
                    <a:pt x="293" y="735"/>
                  </a:lnTo>
                  <a:lnTo>
                    <a:pt x="282" y="732"/>
                  </a:lnTo>
                  <a:lnTo>
                    <a:pt x="265" y="715"/>
                  </a:lnTo>
                  <a:lnTo>
                    <a:pt x="259" y="704"/>
                  </a:lnTo>
                  <a:lnTo>
                    <a:pt x="258" y="674"/>
                  </a:lnTo>
                  <a:lnTo>
                    <a:pt x="262" y="661"/>
                  </a:lnTo>
                  <a:lnTo>
                    <a:pt x="269" y="647"/>
                  </a:lnTo>
                  <a:lnTo>
                    <a:pt x="282" y="636"/>
                  </a:lnTo>
                  <a:lnTo>
                    <a:pt x="304" y="625"/>
                  </a:lnTo>
                  <a:lnTo>
                    <a:pt x="313" y="618"/>
                  </a:lnTo>
                  <a:lnTo>
                    <a:pt x="318" y="613"/>
                  </a:lnTo>
                  <a:lnTo>
                    <a:pt x="329" y="599"/>
                  </a:lnTo>
                  <a:lnTo>
                    <a:pt x="335" y="601"/>
                  </a:lnTo>
                  <a:lnTo>
                    <a:pt x="337" y="601"/>
                  </a:lnTo>
                  <a:lnTo>
                    <a:pt x="348" y="594"/>
                  </a:lnTo>
                  <a:lnTo>
                    <a:pt x="358" y="588"/>
                  </a:lnTo>
                  <a:lnTo>
                    <a:pt x="364" y="585"/>
                  </a:lnTo>
                  <a:lnTo>
                    <a:pt x="372" y="584"/>
                  </a:lnTo>
                  <a:lnTo>
                    <a:pt x="376" y="581"/>
                  </a:lnTo>
                  <a:lnTo>
                    <a:pt x="381" y="577"/>
                  </a:lnTo>
                  <a:lnTo>
                    <a:pt x="389" y="565"/>
                  </a:lnTo>
                  <a:lnTo>
                    <a:pt x="394" y="561"/>
                  </a:lnTo>
                  <a:lnTo>
                    <a:pt x="396" y="563"/>
                  </a:lnTo>
                  <a:lnTo>
                    <a:pt x="407" y="578"/>
                  </a:lnTo>
                  <a:lnTo>
                    <a:pt x="425" y="585"/>
                  </a:lnTo>
                  <a:lnTo>
                    <a:pt x="425" y="591"/>
                  </a:lnTo>
                  <a:lnTo>
                    <a:pt x="429" y="597"/>
                  </a:lnTo>
                  <a:lnTo>
                    <a:pt x="435" y="605"/>
                  </a:lnTo>
                  <a:lnTo>
                    <a:pt x="445" y="617"/>
                  </a:lnTo>
                  <a:lnTo>
                    <a:pt x="448" y="624"/>
                  </a:lnTo>
                  <a:lnTo>
                    <a:pt x="445" y="633"/>
                  </a:lnTo>
                  <a:lnTo>
                    <a:pt x="449" y="641"/>
                  </a:lnTo>
                  <a:lnTo>
                    <a:pt x="459" y="644"/>
                  </a:lnTo>
                  <a:lnTo>
                    <a:pt x="466" y="653"/>
                  </a:lnTo>
                  <a:lnTo>
                    <a:pt x="474" y="656"/>
                  </a:lnTo>
                  <a:lnTo>
                    <a:pt x="478" y="657"/>
                  </a:lnTo>
                  <a:lnTo>
                    <a:pt x="489" y="653"/>
                  </a:lnTo>
                  <a:lnTo>
                    <a:pt x="495" y="650"/>
                  </a:lnTo>
                  <a:lnTo>
                    <a:pt x="499" y="651"/>
                  </a:lnTo>
                  <a:lnTo>
                    <a:pt x="509" y="659"/>
                  </a:lnTo>
                  <a:lnTo>
                    <a:pt x="522" y="665"/>
                  </a:lnTo>
                  <a:lnTo>
                    <a:pt x="532" y="678"/>
                  </a:lnTo>
                  <a:lnTo>
                    <a:pt x="540" y="681"/>
                  </a:lnTo>
                  <a:lnTo>
                    <a:pt x="553" y="681"/>
                  </a:lnTo>
                  <a:lnTo>
                    <a:pt x="561" y="672"/>
                  </a:lnTo>
                  <a:lnTo>
                    <a:pt x="563" y="665"/>
                  </a:lnTo>
                  <a:lnTo>
                    <a:pt x="577" y="641"/>
                  </a:lnTo>
                  <a:lnTo>
                    <a:pt x="579" y="618"/>
                  </a:lnTo>
                  <a:lnTo>
                    <a:pt x="580" y="608"/>
                  </a:lnTo>
                  <a:lnTo>
                    <a:pt x="581" y="587"/>
                  </a:lnTo>
                  <a:lnTo>
                    <a:pt x="580" y="583"/>
                  </a:lnTo>
                  <a:lnTo>
                    <a:pt x="576" y="582"/>
                  </a:lnTo>
                  <a:lnTo>
                    <a:pt x="571" y="577"/>
                  </a:lnTo>
                  <a:lnTo>
                    <a:pt x="562" y="565"/>
                  </a:lnTo>
                  <a:lnTo>
                    <a:pt x="562" y="555"/>
                  </a:lnTo>
                  <a:lnTo>
                    <a:pt x="567" y="552"/>
                  </a:lnTo>
                  <a:lnTo>
                    <a:pt x="577" y="542"/>
                  </a:lnTo>
                  <a:lnTo>
                    <a:pt x="580" y="528"/>
                  </a:lnTo>
                  <a:lnTo>
                    <a:pt x="577" y="518"/>
                  </a:lnTo>
                  <a:lnTo>
                    <a:pt x="576" y="510"/>
                  </a:lnTo>
                  <a:lnTo>
                    <a:pt x="574" y="504"/>
                  </a:lnTo>
                  <a:lnTo>
                    <a:pt x="569" y="504"/>
                  </a:lnTo>
                  <a:lnTo>
                    <a:pt x="562" y="500"/>
                  </a:lnTo>
                  <a:lnTo>
                    <a:pt x="553" y="489"/>
                  </a:lnTo>
                  <a:lnTo>
                    <a:pt x="546" y="488"/>
                  </a:lnTo>
                  <a:lnTo>
                    <a:pt x="544" y="507"/>
                  </a:lnTo>
                  <a:lnTo>
                    <a:pt x="535" y="518"/>
                  </a:lnTo>
                  <a:lnTo>
                    <a:pt x="519" y="533"/>
                  </a:lnTo>
                  <a:lnTo>
                    <a:pt x="515" y="539"/>
                  </a:lnTo>
                  <a:lnTo>
                    <a:pt x="507" y="539"/>
                  </a:lnTo>
                  <a:lnTo>
                    <a:pt x="492" y="531"/>
                  </a:lnTo>
                  <a:lnTo>
                    <a:pt x="490" y="534"/>
                  </a:lnTo>
                  <a:lnTo>
                    <a:pt x="490" y="545"/>
                  </a:lnTo>
                  <a:lnTo>
                    <a:pt x="484" y="549"/>
                  </a:lnTo>
                  <a:lnTo>
                    <a:pt x="479" y="541"/>
                  </a:lnTo>
                  <a:lnTo>
                    <a:pt x="472" y="527"/>
                  </a:lnTo>
                  <a:lnTo>
                    <a:pt x="451" y="507"/>
                  </a:lnTo>
                  <a:lnTo>
                    <a:pt x="441" y="504"/>
                  </a:lnTo>
                  <a:lnTo>
                    <a:pt x="435" y="495"/>
                  </a:lnTo>
                  <a:lnTo>
                    <a:pt x="426" y="497"/>
                  </a:lnTo>
                  <a:lnTo>
                    <a:pt x="419" y="492"/>
                  </a:lnTo>
                  <a:lnTo>
                    <a:pt x="417" y="489"/>
                  </a:lnTo>
                  <a:lnTo>
                    <a:pt x="412" y="489"/>
                  </a:lnTo>
                  <a:lnTo>
                    <a:pt x="396" y="473"/>
                  </a:lnTo>
                  <a:lnTo>
                    <a:pt x="395" y="463"/>
                  </a:lnTo>
                  <a:lnTo>
                    <a:pt x="390" y="457"/>
                  </a:lnTo>
                  <a:lnTo>
                    <a:pt x="389" y="415"/>
                  </a:lnTo>
                  <a:lnTo>
                    <a:pt x="387" y="408"/>
                  </a:lnTo>
                  <a:lnTo>
                    <a:pt x="379" y="404"/>
                  </a:lnTo>
                  <a:lnTo>
                    <a:pt x="370" y="402"/>
                  </a:lnTo>
                  <a:lnTo>
                    <a:pt x="369" y="396"/>
                  </a:lnTo>
                  <a:lnTo>
                    <a:pt x="369" y="392"/>
                  </a:lnTo>
                  <a:lnTo>
                    <a:pt x="381" y="383"/>
                  </a:lnTo>
                  <a:lnTo>
                    <a:pt x="389" y="379"/>
                  </a:lnTo>
                  <a:lnTo>
                    <a:pt x="391" y="373"/>
                  </a:lnTo>
                  <a:lnTo>
                    <a:pt x="402" y="367"/>
                  </a:lnTo>
                  <a:lnTo>
                    <a:pt x="419" y="361"/>
                  </a:lnTo>
                  <a:lnTo>
                    <a:pt x="437" y="360"/>
                  </a:lnTo>
                  <a:lnTo>
                    <a:pt x="457" y="355"/>
                  </a:lnTo>
                  <a:lnTo>
                    <a:pt x="481" y="347"/>
                  </a:lnTo>
                  <a:lnTo>
                    <a:pt x="489" y="343"/>
                  </a:lnTo>
                  <a:lnTo>
                    <a:pt x="533" y="290"/>
                  </a:lnTo>
                  <a:lnTo>
                    <a:pt x="543" y="276"/>
                  </a:lnTo>
                  <a:lnTo>
                    <a:pt x="580" y="239"/>
                  </a:lnTo>
                  <a:lnTo>
                    <a:pt x="581" y="235"/>
                  </a:lnTo>
                  <a:lnTo>
                    <a:pt x="574" y="209"/>
                  </a:lnTo>
                  <a:lnTo>
                    <a:pt x="573" y="198"/>
                  </a:lnTo>
                  <a:lnTo>
                    <a:pt x="575" y="192"/>
                  </a:lnTo>
                  <a:lnTo>
                    <a:pt x="579" y="188"/>
                  </a:lnTo>
                  <a:lnTo>
                    <a:pt x="600" y="191"/>
                  </a:lnTo>
                  <a:lnTo>
                    <a:pt x="609" y="180"/>
                  </a:lnTo>
                  <a:lnTo>
                    <a:pt x="609" y="170"/>
                  </a:lnTo>
                  <a:lnTo>
                    <a:pt x="613" y="152"/>
                  </a:lnTo>
                  <a:lnTo>
                    <a:pt x="618" y="146"/>
                  </a:lnTo>
                  <a:lnTo>
                    <a:pt x="635" y="135"/>
                  </a:lnTo>
                  <a:lnTo>
                    <a:pt x="642" y="132"/>
                  </a:lnTo>
                  <a:lnTo>
                    <a:pt x="647" y="127"/>
                  </a:lnTo>
                  <a:lnTo>
                    <a:pt x="643" y="122"/>
                  </a:lnTo>
                  <a:lnTo>
                    <a:pt x="640" y="121"/>
                  </a:lnTo>
                  <a:lnTo>
                    <a:pt x="639" y="113"/>
                  </a:lnTo>
                  <a:lnTo>
                    <a:pt x="640" y="110"/>
                  </a:lnTo>
                  <a:lnTo>
                    <a:pt x="636" y="107"/>
                  </a:lnTo>
                  <a:lnTo>
                    <a:pt x="629" y="110"/>
                  </a:lnTo>
                  <a:lnTo>
                    <a:pt x="624" y="116"/>
                  </a:lnTo>
                  <a:lnTo>
                    <a:pt x="613" y="115"/>
                  </a:lnTo>
                  <a:lnTo>
                    <a:pt x="597" y="104"/>
                  </a:lnTo>
                  <a:lnTo>
                    <a:pt x="579" y="77"/>
                  </a:lnTo>
                  <a:lnTo>
                    <a:pt x="565" y="60"/>
                  </a:lnTo>
                  <a:lnTo>
                    <a:pt x="562" y="60"/>
                  </a:lnTo>
                  <a:lnTo>
                    <a:pt x="557" y="61"/>
                  </a:lnTo>
                  <a:lnTo>
                    <a:pt x="538" y="63"/>
                  </a:lnTo>
                  <a:lnTo>
                    <a:pt x="531" y="65"/>
                  </a:lnTo>
                  <a:lnTo>
                    <a:pt x="525" y="71"/>
                  </a:lnTo>
                  <a:lnTo>
                    <a:pt x="517" y="68"/>
                  </a:lnTo>
                  <a:lnTo>
                    <a:pt x="513" y="67"/>
                  </a:lnTo>
                  <a:lnTo>
                    <a:pt x="508" y="62"/>
                  </a:lnTo>
                  <a:lnTo>
                    <a:pt x="507" y="56"/>
                  </a:lnTo>
                  <a:lnTo>
                    <a:pt x="507" y="49"/>
                  </a:lnTo>
                  <a:lnTo>
                    <a:pt x="504" y="47"/>
                  </a:lnTo>
                  <a:lnTo>
                    <a:pt x="504" y="42"/>
                  </a:lnTo>
                  <a:lnTo>
                    <a:pt x="503" y="39"/>
                  </a:lnTo>
                  <a:lnTo>
                    <a:pt x="496" y="43"/>
                  </a:lnTo>
                  <a:lnTo>
                    <a:pt x="490" y="44"/>
                  </a:lnTo>
                  <a:lnTo>
                    <a:pt x="487" y="44"/>
                  </a:lnTo>
                  <a:lnTo>
                    <a:pt x="485" y="42"/>
                  </a:lnTo>
                  <a:lnTo>
                    <a:pt x="481" y="33"/>
                  </a:lnTo>
                  <a:lnTo>
                    <a:pt x="480" y="29"/>
                  </a:lnTo>
                  <a:lnTo>
                    <a:pt x="471" y="24"/>
                  </a:lnTo>
                  <a:lnTo>
                    <a:pt x="457" y="24"/>
                  </a:lnTo>
                  <a:lnTo>
                    <a:pt x="438" y="14"/>
                  </a:lnTo>
                  <a:lnTo>
                    <a:pt x="430" y="15"/>
                  </a:lnTo>
                  <a:lnTo>
                    <a:pt x="421" y="12"/>
                  </a:lnTo>
                  <a:lnTo>
                    <a:pt x="411" y="9"/>
                  </a:lnTo>
                  <a:lnTo>
                    <a:pt x="397" y="6"/>
                  </a:lnTo>
                  <a:lnTo>
                    <a:pt x="370" y="0"/>
                  </a:lnTo>
                  <a:lnTo>
                    <a:pt x="319" y="7"/>
                  </a:lnTo>
                  <a:lnTo>
                    <a:pt x="309" y="9"/>
                  </a:lnTo>
                  <a:lnTo>
                    <a:pt x="301" y="13"/>
                  </a:lnTo>
                  <a:lnTo>
                    <a:pt x="309" y="25"/>
                  </a:lnTo>
                  <a:lnTo>
                    <a:pt x="319" y="49"/>
                  </a:lnTo>
                  <a:lnTo>
                    <a:pt x="331" y="62"/>
                  </a:lnTo>
                  <a:lnTo>
                    <a:pt x="343" y="90"/>
                  </a:lnTo>
                  <a:lnTo>
                    <a:pt x="347" y="127"/>
                  </a:lnTo>
                  <a:lnTo>
                    <a:pt x="346" y="156"/>
                  </a:lnTo>
                  <a:lnTo>
                    <a:pt x="339" y="161"/>
                  </a:lnTo>
                  <a:lnTo>
                    <a:pt x="329" y="158"/>
                  </a:lnTo>
                  <a:lnTo>
                    <a:pt x="313" y="162"/>
                  </a:lnTo>
                  <a:lnTo>
                    <a:pt x="301" y="161"/>
                  </a:lnTo>
                  <a:lnTo>
                    <a:pt x="288" y="163"/>
                  </a:lnTo>
                  <a:lnTo>
                    <a:pt x="279" y="168"/>
                  </a:lnTo>
                  <a:lnTo>
                    <a:pt x="265" y="162"/>
                  </a:lnTo>
                  <a:lnTo>
                    <a:pt x="235" y="162"/>
                  </a:lnTo>
                  <a:lnTo>
                    <a:pt x="216" y="156"/>
                  </a:lnTo>
                  <a:lnTo>
                    <a:pt x="197" y="155"/>
                  </a:lnTo>
                  <a:lnTo>
                    <a:pt x="178" y="151"/>
                  </a:lnTo>
                  <a:lnTo>
                    <a:pt x="157" y="155"/>
                  </a:lnTo>
                  <a:lnTo>
                    <a:pt x="153" y="161"/>
                  </a:lnTo>
                  <a:lnTo>
                    <a:pt x="153" y="174"/>
                  </a:lnTo>
                  <a:lnTo>
                    <a:pt x="148" y="179"/>
                  </a:lnTo>
                  <a:lnTo>
                    <a:pt x="125" y="195"/>
                  </a:lnTo>
                  <a:lnTo>
                    <a:pt x="121" y="201"/>
                  </a:lnTo>
                  <a:lnTo>
                    <a:pt x="111" y="218"/>
                  </a:lnTo>
                  <a:lnTo>
                    <a:pt x="105" y="219"/>
                  </a:lnTo>
                  <a:lnTo>
                    <a:pt x="83" y="229"/>
                  </a:lnTo>
                  <a:lnTo>
                    <a:pt x="78" y="235"/>
                  </a:lnTo>
                  <a:lnTo>
                    <a:pt x="69" y="265"/>
                  </a:lnTo>
                  <a:lnTo>
                    <a:pt x="72" y="282"/>
                  </a:lnTo>
                  <a:lnTo>
                    <a:pt x="69" y="297"/>
                  </a:lnTo>
                  <a:lnTo>
                    <a:pt x="76" y="308"/>
                  </a:lnTo>
                  <a:lnTo>
                    <a:pt x="73" y="312"/>
                  </a:lnTo>
                  <a:lnTo>
                    <a:pt x="53" y="313"/>
                  </a:lnTo>
                  <a:lnTo>
                    <a:pt x="47" y="318"/>
                  </a:lnTo>
                  <a:lnTo>
                    <a:pt x="47" y="329"/>
                  </a:lnTo>
                  <a:lnTo>
                    <a:pt x="29" y="337"/>
                  </a:lnTo>
                  <a:lnTo>
                    <a:pt x="25" y="341"/>
                  </a:lnTo>
                  <a:lnTo>
                    <a:pt x="16" y="368"/>
                  </a:lnTo>
                  <a:lnTo>
                    <a:pt x="17" y="393"/>
                  </a:lnTo>
                  <a:lnTo>
                    <a:pt x="16" y="401"/>
                  </a:lnTo>
                  <a:lnTo>
                    <a:pt x="6" y="413"/>
                  </a:lnTo>
                  <a:lnTo>
                    <a:pt x="0" y="518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7" name="Freeform 25"/>
            <p:cNvSpPr>
              <a:spLocks/>
            </p:cNvSpPr>
            <p:nvPr/>
          </p:nvSpPr>
          <p:spPr bwMode="auto">
            <a:xfrm>
              <a:off x="4795838" y="4797425"/>
              <a:ext cx="739775" cy="490538"/>
            </a:xfrm>
            <a:custGeom>
              <a:avLst/>
              <a:gdLst>
                <a:gd name="T0" fmla="*/ 12600781 w 932"/>
                <a:gd name="T1" fmla="*/ 276220596 h 617"/>
                <a:gd name="T2" fmla="*/ 26462038 w 932"/>
                <a:gd name="T3" fmla="*/ 255994053 h 617"/>
                <a:gd name="T4" fmla="*/ 44732575 w 932"/>
                <a:gd name="T5" fmla="*/ 235135455 h 617"/>
                <a:gd name="T6" fmla="*/ 37802344 w 932"/>
                <a:gd name="T7" fmla="*/ 210483734 h 617"/>
                <a:gd name="T8" fmla="*/ 12600781 w 932"/>
                <a:gd name="T9" fmla="*/ 145379721 h 617"/>
                <a:gd name="T10" fmla="*/ 17641094 w 932"/>
                <a:gd name="T11" fmla="*/ 96077075 h 617"/>
                <a:gd name="T12" fmla="*/ 30872113 w 932"/>
                <a:gd name="T13" fmla="*/ 102397621 h 617"/>
                <a:gd name="T14" fmla="*/ 52293044 w 932"/>
                <a:gd name="T15" fmla="*/ 85963406 h 617"/>
                <a:gd name="T16" fmla="*/ 80645000 w 932"/>
                <a:gd name="T17" fmla="*/ 94812966 h 617"/>
                <a:gd name="T18" fmla="*/ 78755081 w 932"/>
                <a:gd name="T19" fmla="*/ 73321518 h 617"/>
                <a:gd name="T20" fmla="*/ 109627194 w 932"/>
                <a:gd name="T21" fmla="*/ 50566756 h 617"/>
                <a:gd name="T22" fmla="*/ 125377575 w 932"/>
                <a:gd name="T23" fmla="*/ 79010805 h 617"/>
                <a:gd name="T24" fmla="*/ 135458200 w 932"/>
                <a:gd name="T25" fmla="*/ 77746695 h 617"/>
                <a:gd name="T26" fmla="*/ 161920238 w 932"/>
                <a:gd name="T27" fmla="*/ 63840698 h 617"/>
                <a:gd name="T28" fmla="*/ 189011719 w 932"/>
                <a:gd name="T29" fmla="*/ 60680425 h 617"/>
                <a:gd name="T30" fmla="*/ 215473756 w 932"/>
                <a:gd name="T31" fmla="*/ 41717196 h 617"/>
                <a:gd name="T32" fmla="*/ 229964456 w 932"/>
                <a:gd name="T33" fmla="*/ 26547885 h 617"/>
                <a:gd name="T34" fmla="*/ 246975313 w 932"/>
                <a:gd name="T35" fmla="*/ 5688492 h 617"/>
                <a:gd name="T36" fmla="*/ 278477663 w 932"/>
                <a:gd name="T37" fmla="*/ 20858598 h 617"/>
                <a:gd name="T38" fmla="*/ 287297813 w 932"/>
                <a:gd name="T39" fmla="*/ 45510319 h 617"/>
                <a:gd name="T40" fmla="*/ 299268356 w 932"/>
                <a:gd name="T41" fmla="*/ 63840698 h 617"/>
                <a:gd name="T42" fmla="*/ 341481569 w 932"/>
                <a:gd name="T43" fmla="*/ 79010805 h 617"/>
                <a:gd name="T44" fmla="*/ 341481569 w 932"/>
                <a:gd name="T45" fmla="*/ 144114817 h 617"/>
                <a:gd name="T46" fmla="*/ 394404850 w 932"/>
                <a:gd name="T47" fmla="*/ 132105779 h 617"/>
                <a:gd name="T48" fmla="*/ 427166881 w 932"/>
                <a:gd name="T49" fmla="*/ 134001943 h 617"/>
                <a:gd name="T50" fmla="*/ 418345938 w 932"/>
                <a:gd name="T51" fmla="*/ 140322489 h 617"/>
                <a:gd name="T52" fmla="*/ 454888600 w 932"/>
                <a:gd name="T53" fmla="*/ 176351194 h 617"/>
                <a:gd name="T54" fmla="*/ 505291725 w 932"/>
                <a:gd name="T55" fmla="*/ 188993081 h 617"/>
                <a:gd name="T56" fmla="*/ 561994844 w 932"/>
                <a:gd name="T57" fmla="*/ 305296700 h 617"/>
                <a:gd name="T58" fmla="*/ 529232813 w 932"/>
                <a:gd name="T59" fmla="*/ 316674478 h 617"/>
                <a:gd name="T60" fmla="*/ 488910313 w 932"/>
                <a:gd name="T61" fmla="*/ 307192863 h 617"/>
                <a:gd name="T62" fmla="*/ 500251413 w 932"/>
                <a:gd name="T63" fmla="*/ 293286866 h 617"/>
                <a:gd name="T64" fmla="*/ 483870000 w 932"/>
                <a:gd name="T65" fmla="*/ 298976153 h 617"/>
                <a:gd name="T66" fmla="*/ 478829688 w 932"/>
                <a:gd name="T67" fmla="*/ 294550976 h 617"/>
                <a:gd name="T68" fmla="*/ 471269219 w 932"/>
                <a:gd name="T69" fmla="*/ 285702211 h 617"/>
                <a:gd name="T70" fmla="*/ 457408756 w 932"/>
                <a:gd name="T71" fmla="*/ 289494539 h 617"/>
                <a:gd name="T72" fmla="*/ 442917263 w 932"/>
                <a:gd name="T73" fmla="*/ 301504372 h 617"/>
                <a:gd name="T74" fmla="*/ 450477731 w 932"/>
                <a:gd name="T75" fmla="*/ 313513410 h 617"/>
                <a:gd name="T76" fmla="*/ 432207194 w 932"/>
                <a:gd name="T77" fmla="*/ 317938587 h 617"/>
                <a:gd name="T78" fmla="*/ 420866094 w 932"/>
                <a:gd name="T79" fmla="*/ 323627079 h 617"/>
                <a:gd name="T80" fmla="*/ 405114919 w 932"/>
                <a:gd name="T81" fmla="*/ 335636912 h 617"/>
                <a:gd name="T82" fmla="*/ 393774613 w 932"/>
                <a:gd name="T83" fmla="*/ 345117732 h 617"/>
                <a:gd name="T84" fmla="*/ 375503281 w 932"/>
                <a:gd name="T85" fmla="*/ 350807018 h 617"/>
                <a:gd name="T86" fmla="*/ 344631169 w 932"/>
                <a:gd name="T87" fmla="*/ 362184002 h 617"/>
                <a:gd name="T88" fmla="*/ 321949763 w 932"/>
                <a:gd name="T89" fmla="*/ 374193835 h 617"/>
                <a:gd name="T90" fmla="*/ 314389294 w 932"/>
                <a:gd name="T91" fmla="*/ 376722053 h 617"/>
                <a:gd name="T92" fmla="*/ 308719538 w 932"/>
                <a:gd name="T93" fmla="*/ 381146436 h 617"/>
                <a:gd name="T94" fmla="*/ 294858281 w 932"/>
                <a:gd name="T95" fmla="*/ 385571613 h 617"/>
                <a:gd name="T96" fmla="*/ 272807113 w 932"/>
                <a:gd name="T97" fmla="*/ 386835723 h 617"/>
                <a:gd name="T98" fmla="*/ 257686175 w 932"/>
                <a:gd name="T99" fmla="*/ 389995996 h 617"/>
                <a:gd name="T100" fmla="*/ 222403988 w 932"/>
                <a:gd name="T101" fmla="*/ 381146436 h 617"/>
                <a:gd name="T102" fmla="*/ 196572188 w 932"/>
                <a:gd name="T103" fmla="*/ 367241234 h 617"/>
                <a:gd name="T104" fmla="*/ 166330313 w 932"/>
                <a:gd name="T105" fmla="*/ 356495510 h 617"/>
                <a:gd name="T106" fmla="*/ 136718675 w 932"/>
                <a:gd name="T107" fmla="*/ 352703182 h 617"/>
                <a:gd name="T108" fmla="*/ 103326406 w 932"/>
                <a:gd name="T109" fmla="*/ 351439073 h 617"/>
                <a:gd name="T110" fmla="*/ 78755081 w 932"/>
                <a:gd name="T111" fmla="*/ 333108694 h 617"/>
                <a:gd name="T112" fmla="*/ 50403125 w 932"/>
                <a:gd name="T113" fmla="*/ 317306533 h 617"/>
                <a:gd name="T114" fmla="*/ 8820944 w 932"/>
                <a:gd name="T115" fmla="*/ 307192863 h 61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32"/>
                <a:gd name="T175" fmla="*/ 0 h 617"/>
                <a:gd name="T176" fmla="*/ 932 w 932"/>
                <a:gd name="T177" fmla="*/ 617 h 61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32" h="617">
                  <a:moveTo>
                    <a:pt x="0" y="471"/>
                  </a:moveTo>
                  <a:lnTo>
                    <a:pt x="6" y="467"/>
                  </a:lnTo>
                  <a:lnTo>
                    <a:pt x="8" y="465"/>
                  </a:lnTo>
                  <a:lnTo>
                    <a:pt x="6" y="460"/>
                  </a:lnTo>
                  <a:lnTo>
                    <a:pt x="5" y="449"/>
                  </a:lnTo>
                  <a:lnTo>
                    <a:pt x="12" y="442"/>
                  </a:lnTo>
                  <a:lnTo>
                    <a:pt x="20" y="437"/>
                  </a:lnTo>
                  <a:lnTo>
                    <a:pt x="24" y="438"/>
                  </a:lnTo>
                  <a:lnTo>
                    <a:pt x="28" y="437"/>
                  </a:lnTo>
                  <a:lnTo>
                    <a:pt x="34" y="430"/>
                  </a:lnTo>
                  <a:lnTo>
                    <a:pt x="41" y="426"/>
                  </a:lnTo>
                  <a:lnTo>
                    <a:pt x="42" y="423"/>
                  </a:lnTo>
                  <a:lnTo>
                    <a:pt x="34" y="407"/>
                  </a:lnTo>
                  <a:lnTo>
                    <a:pt x="42" y="405"/>
                  </a:lnTo>
                  <a:lnTo>
                    <a:pt x="43" y="407"/>
                  </a:lnTo>
                  <a:lnTo>
                    <a:pt x="48" y="404"/>
                  </a:lnTo>
                  <a:lnTo>
                    <a:pt x="55" y="402"/>
                  </a:lnTo>
                  <a:lnTo>
                    <a:pt x="58" y="396"/>
                  </a:lnTo>
                  <a:lnTo>
                    <a:pt x="60" y="395"/>
                  </a:lnTo>
                  <a:lnTo>
                    <a:pt x="65" y="389"/>
                  </a:lnTo>
                  <a:lnTo>
                    <a:pt x="71" y="372"/>
                  </a:lnTo>
                  <a:lnTo>
                    <a:pt x="72" y="360"/>
                  </a:lnTo>
                  <a:lnTo>
                    <a:pt x="76" y="357"/>
                  </a:lnTo>
                  <a:lnTo>
                    <a:pt x="80" y="351"/>
                  </a:lnTo>
                  <a:lnTo>
                    <a:pt x="79" y="339"/>
                  </a:lnTo>
                  <a:lnTo>
                    <a:pt x="65" y="334"/>
                  </a:lnTo>
                  <a:lnTo>
                    <a:pt x="62" y="332"/>
                  </a:lnTo>
                  <a:lnTo>
                    <a:pt x="60" y="333"/>
                  </a:lnTo>
                  <a:lnTo>
                    <a:pt x="54" y="327"/>
                  </a:lnTo>
                  <a:lnTo>
                    <a:pt x="50" y="321"/>
                  </a:lnTo>
                  <a:lnTo>
                    <a:pt x="47" y="300"/>
                  </a:lnTo>
                  <a:lnTo>
                    <a:pt x="42" y="297"/>
                  </a:lnTo>
                  <a:lnTo>
                    <a:pt x="31" y="294"/>
                  </a:lnTo>
                  <a:lnTo>
                    <a:pt x="25" y="238"/>
                  </a:lnTo>
                  <a:lnTo>
                    <a:pt x="20" y="230"/>
                  </a:lnTo>
                  <a:lnTo>
                    <a:pt x="16" y="225"/>
                  </a:lnTo>
                  <a:lnTo>
                    <a:pt x="13" y="219"/>
                  </a:lnTo>
                  <a:lnTo>
                    <a:pt x="22" y="179"/>
                  </a:lnTo>
                  <a:lnTo>
                    <a:pt x="20" y="165"/>
                  </a:lnTo>
                  <a:lnTo>
                    <a:pt x="22" y="155"/>
                  </a:lnTo>
                  <a:lnTo>
                    <a:pt x="26" y="155"/>
                  </a:lnTo>
                  <a:lnTo>
                    <a:pt x="28" y="152"/>
                  </a:lnTo>
                  <a:lnTo>
                    <a:pt x="34" y="156"/>
                  </a:lnTo>
                  <a:lnTo>
                    <a:pt x="37" y="154"/>
                  </a:lnTo>
                  <a:lnTo>
                    <a:pt x="41" y="147"/>
                  </a:lnTo>
                  <a:lnTo>
                    <a:pt x="44" y="149"/>
                  </a:lnTo>
                  <a:lnTo>
                    <a:pt x="43" y="154"/>
                  </a:lnTo>
                  <a:lnTo>
                    <a:pt x="46" y="155"/>
                  </a:lnTo>
                  <a:lnTo>
                    <a:pt x="49" y="162"/>
                  </a:lnTo>
                  <a:lnTo>
                    <a:pt x="53" y="160"/>
                  </a:lnTo>
                  <a:lnTo>
                    <a:pt x="54" y="142"/>
                  </a:lnTo>
                  <a:lnTo>
                    <a:pt x="60" y="135"/>
                  </a:lnTo>
                  <a:lnTo>
                    <a:pt x="64" y="137"/>
                  </a:lnTo>
                  <a:lnTo>
                    <a:pt x="70" y="138"/>
                  </a:lnTo>
                  <a:lnTo>
                    <a:pt x="78" y="137"/>
                  </a:lnTo>
                  <a:lnTo>
                    <a:pt x="83" y="136"/>
                  </a:lnTo>
                  <a:lnTo>
                    <a:pt x="90" y="142"/>
                  </a:lnTo>
                  <a:lnTo>
                    <a:pt x="97" y="143"/>
                  </a:lnTo>
                  <a:lnTo>
                    <a:pt x="110" y="143"/>
                  </a:lnTo>
                  <a:lnTo>
                    <a:pt x="114" y="144"/>
                  </a:lnTo>
                  <a:lnTo>
                    <a:pt x="119" y="153"/>
                  </a:lnTo>
                  <a:lnTo>
                    <a:pt x="122" y="152"/>
                  </a:lnTo>
                  <a:lnTo>
                    <a:pt x="128" y="150"/>
                  </a:lnTo>
                  <a:lnTo>
                    <a:pt x="139" y="142"/>
                  </a:lnTo>
                  <a:lnTo>
                    <a:pt x="140" y="138"/>
                  </a:lnTo>
                  <a:lnTo>
                    <a:pt x="139" y="135"/>
                  </a:lnTo>
                  <a:lnTo>
                    <a:pt x="136" y="131"/>
                  </a:lnTo>
                  <a:lnTo>
                    <a:pt x="131" y="129"/>
                  </a:lnTo>
                  <a:lnTo>
                    <a:pt x="128" y="118"/>
                  </a:lnTo>
                  <a:lnTo>
                    <a:pt x="125" y="116"/>
                  </a:lnTo>
                  <a:lnTo>
                    <a:pt x="137" y="89"/>
                  </a:lnTo>
                  <a:lnTo>
                    <a:pt x="144" y="87"/>
                  </a:lnTo>
                  <a:lnTo>
                    <a:pt x="149" y="78"/>
                  </a:lnTo>
                  <a:lnTo>
                    <a:pt x="155" y="77"/>
                  </a:lnTo>
                  <a:lnTo>
                    <a:pt x="169" y="75"/>
                  </a:lnTo>
                  <a:lnTo>
                    <a:pt x="173" y="77"/>
                  </a:lnTo>
                  <a:lnTo>
                    <a:pt x="174" y="80"/>
                  </a:lnTo>
                  <a:lnTo>
                    <a:pt x="170" y="101"/>
                  </a:lnTo>
                  <a:lnTo>
                    <a:pt x="184" y="114"/>
                  </a:lnTo>
                  <a:lnTo>
                    <a:pt x="190" y="131"/>
                  </a:lnTo>
                  <a:lnTo>
                    <a:pt x="194" y="135"/>
                  </a:lnTo>
                  <a:lnTo>
                    <a:pt x="198" y="135"/>
                  </a:lnTo>
                  <a:lnTo>
                    <a:pt x="198" y="130"/>
                  </a:lnTo>
                  <a:lnTo>
                    <a:pt x="199" y="125"/>
                  </a:lnTo>
                  <a:lnTo>
                    <a:pt x="205" y="134"/>
                  </a:lnTo>
                  <a:lnTo>
                    <a:pt x="203" y="136"/>
                  </a:lnTo>
                  <a:lnTo>
                    <a:pt x="204" y="143"/>
                  </a:lnTo>
                  <a:lnTo>
                    <a:pt x="208" y="143"/>
                  </a:lnTo>
                  <a:lnTo>
                    <a:pt x="209" y="132"/>
                  </a:lnTo>
                  <a:lnTo>
                    <a:pt x="210" y="129"/>
                  </a:lnTo>
                  <a:lnTo>
                    <a:pt x="215" y="123"/>
                  </a:lnTo>
                  <a:lnTo>
                    <a:pt x="221" y="118"/>
                  </a:lnTo>
                  <a:lnTo>
                    <a:pt x="224" y="117"/>
                  </a:lnTo>
                  <a:lnTo>
                    <a:pt x="233" y="111"/>
                  </a:lnTo>
                  <a:lnTo>
                    <a:pt x="239" y="108"/>
                  </a:lnTo>
                  <a:lnTo>
                    <a:pt x="245" y="105"/>
                  </a:lnTo>
                  <a:lnTo>
                    <a:pt x="254" y="104"/>
                  </a:lnTo>
                  <a:lnTo>
                    <a:pt x="257" y="101"/>
                  </a:lnTo>
                  <a:lnTo>
                    <a:pt x="264" y="100"/>
                  </a:lnTo>
                  <a:lnTo>
                    <a:pt x="268" y="101"/>
                  </a:lnTo>
                  <a:lnTo>
                    <a:pt x="277" y="107"/>
                  </a:lnTo>
                  <a:lnTo>
                    <a:pt x="282" y="108"/>
                  </a:lnTo>
                  <a:lnTo>
                    <a:pt x="288" y="108"/>
                  </a:lnTo>
                  <a:lnTo>
                    <a:pt x="293" y="102"/>
                  </a:lnTo>
                  <a:lnTo>
                    <a:pt x="300" y="96"/>
                  </a:lnTo>
                  <a:lnTo>
                    <a:pt x="310" y="90"/>
                  </a:lnTo>
                  <a:lnTo>
                    <a:pt x="320" y="89"/>
                  </a:lnTo>
                  <a:lnTo>
                    <a:pt x="323" y="89"/>
                  </a:lnTo>
                  <a:lnTo>
                    <a:pt x="329" y="87"/>
                  </a:lnTo>
                  <a:lnTo>
                    <a:pt x="331" y="84"/>
                  </a:lnTo>
                  <a:lnTo>
                    <a:pt x="335" y="82"/>
                  </a:lnTo>
                  <a:lnTo>
                    <a:pt x="342" y="66"/>
                  </a:lnTo>
                  <a:lnTo>
                    <a:pt x="346" y="65"/>
                  </a:lnTo>
                  <a:lnTo>
                    <a:pt x="347" y="60"/>
                  </a:lnTo>
                  <a:lnTo>
                    <a:pt x="350" y="56"/>
                  </a:lnTo>
                  <a:lnTo>
                    <a:pt x="356" y="52"/>
                  </a:lnTo>
                  <a:lnTo>
                    <a:pt x="360" y="52"/>
                  </a:lnTo>
                  <a:lnTo>
                    <a:pt x="362" y="50"/>
                  </a:lnTo>
                  <a:lnTo>
                    <a:pt x="365" y="42"/>
                  </a:lnTo>
                  <a:lnTo>
                    <a:pt x="376" y="26"/>
                  </a:lnTo>
                  <a:lnTo>
                    <a:pt x="376" y="18"/>
                  </a:lnTo>
                  <a:lnTo>
                    <a:pt x="373" y="12"/>
                  </a:lnTo>
                  <a:lnTo>
                    <a:pt x="372" y="0"/>
                  </a:lnTo>
                  <a:lnTo>
                    <a:pt x="379" y="0"/>
                  </a:lnTo>
                  <a:lnTo>
                    <a:pt x="383" y="2"/>
                  </a:lnTo>
                  <a:lnTo>
                    <a:pt x="392" y="9"/>
                  </a:lnTo>
                  <a:lnTo>
                    <a:pt x="396" y="9"/>
                  </a:lnTo>
                  <a:lnTo>
                    <a:pt x="408" y="14"/>
                  </a:lnTo>
                  <a:lnTo>
                    <a:pt x="414" y="18"/>
                  </a:lnTo>
                  <a:lnTo>
                    <a:pt x="422" y="22"/>
                  </a:lnTo>
                  <a:lnTo>
                    <a:pt x="426" y="23"/>
                  </a:lnTo>
                  <a:lnTo>
                    <a:pt x="439" y="29"/>
                  </a:lnTo>
                  <a:lnTo>
                    <a:pt x="442" y="33"/>
                  </a:lnTo>
                  <a:lnTo>
                    <a:pt x="446" y="45"/>
                  </a:lnTo>
                  <a:lnTo>
                    <a:pt x="446" y="47"/>
                  </a:lnTo>
                  <a:lnTo>
                    <a:pt x="449" y="48"/>
                  </a:lnTo>
                  <a:lnTo>
                    <a:pt x="450" y="54"/>
                  </a:lnTo>
                  <a:lnTo>
                    <a:pt x="450" y="66"/>
                  </a:lnTo>
                  <a:lnTo>
                    <a:pt x="452" y="69"/>
                  </a:lnTo>
                  <a:lnTo>
                    <a:pt x="456" y="72"/>
                  </a:lnTo>
                  <a:lnTo>
                    <a:pt x="468" y="78"/>
                  </a:lnTo>
                  <a:lnTo>
                    <a:pt x="469" y="81"/>
                  </a:lnTo>
                  <a:lnTo>
                    <a:pt x="469" y="88"/>
                  </a:lnTo>
                  <a:lnTo>
                    <a:pt x="468" y="89"/>
                  </a:lnTo>
                  <a:lnTo>
                    <a:pt x="468" y="92"/>
                  </a:lnTo>
                  <a:lnTo>
                    <a:pt x="472" y="93"/>
                  </a:lnTo>
                  <a:lnTo>
                    <a:pt x="475" y="101"/>
                  </a:lnTo>
                  <a:lnTo>
                    <a:pt x="481" y="102"/>
                  </a:lnTo>
                  <a:lnTo>
                    <a:pt x="492" y="100"/>
                  </a:lnTo>
                  <a:lnTo>
                    <a:pt x="503" y="102"/>
                  </a:lnTo>
                  <a:lnTo>
                    <a:pt x="518" y="100"/>
                  </a:lnTo>
                  <a:lnTo>
                    <a:pt x="526" y="100"/>
                  </a:lnTo>
                  <a:lnTo>
                    <a:pt x="535" y="111"/>
                  </a:lnTo>
                  <a:lnTo>
                    <a:pt x="542" y="125"/>
                  </a:lnTo>
                  <a:lnTo>
                    <a:pt x="546" y="138"/>
                  </a:lnTo>
                  <a:lnTo>
                    <a:pt x="545" y="154"/>
                  </a:lnTo>
                  <a:lnTo>
                    <a:pt x="539" y="165"/>
                  </a:lnTo>
                  <a:lnTo>
                    <a:pt x="527" y="178"/>
                  </a:lnTo>
                  <a:lnTo>
                    <a:pt x="527" y="182"/>
                  </a:lnTo>
                  <a:lnTo>
                    <a:pt x="535" y="215"/>
                  </a:lnTo>
                  <a:lnTo>
                    <a:pt x="542" y="228"/>
                  </a:lnTo>
                  <a:lnTo>
                    <a:pt x="552" y="232"/>
                  </a:lnTo>
                  <a:lnTo>
                    <a:pt x="563" y="232"/>
                  </a:lnTo>
                  <a:lnTo>
                    <a:pt x="574" y="236"/>
                  </a:lnTo>
                  <a:lnTo>
                    <a:pt x="588" y="233"/>
                  </a:lnTo>
                  <a:lnTo>
                    <a:pt x="605" y="220"/>
                  </a:lnTo>
                  <a:lnTo>
                    <a:pt x="610" y="212"/>
                  </a:lnTo>
                  <a:lnTo>
                    <a:pt x="626" y="209"/>
                  </a:lnTo>
                  <a:lnTo>
                    <a:pt x="652" y="195"/>
                  </a:lnTo>
                  <a:lnTo>
                    <a:pt x="654" y="188"/>
                  </a:lnTo>
                  <a:lnTo>
                    <a:pt x="655" y="192"/>
                  </a:lnTo>
                  <a:lnTo>
                    <a:pt x="662" y="191"/>
                  </a:lnTo>
                  <a:lnTo>
                    <a:pt x="670" y="198"/>
                  </a:lnTo>
                  <a:lnTo>
                    <a:pt x="679" y="202"/>
                  </a:lnTo>
                  <a:lnTo>
                    <a:pt x="678" y="212"/>
                  </a:lnTo>
                  <a:lnTo>
                    <a:pt x="673" y="212"/>
                  </a:lnTo>
                  <a:lnTo>
                    <a:pt x="668" y="215"/>
                  </a:lnTo>
                  <a:lnTo>
                    <a:pt x="666" y="214"/>
                  </a:lnTo>
                  <a:lnTo>
                    <a:pt x="665" y="218"/>
                  </a:lnTo>
                  <a:lnTo>
                    <a:pt x="661" y="218"/>
                  </a:lnTo>
                  <a:lnTo>
                    <a:pt x="660" y="219"/>
                  </a:lnTo>
                  <a:lnTo>
                    <a:pt x="664" y="222"/>
                  </a:lnTo>
                  <a:lnTo>
                    <a:pt x="665" y="227"/>
                  </a:lnTo>
                  <a:lnTo>
                    <a:pt x="670" y="232"/>
                  </a:lnTo>
                  <a:lnTo>
                    <a:pt x="679" y="248"/>
                  </a:lnTo>
                  <a:lnTo>
                    <a:pt x="691" y="263"/>
                  </a:lnTo>
                  <a:lnTo>
                    <a:pt x="718" y="275"/>
                  </a:lnTo>
                  <a:lnTo>
                    <a:pt x="720" y="278"/>
                  </a:lnTo>
                  <a:lnTo>
                    <a:pt x="722" y="279"/>
                  </a:lnTo>
                  <a:lnTo>
                    <a:pt x="727" y="278"/>
                  </a:lnTo>
                  <a:lnTo>
                    <a:pt x="728" y="299"/>
                  </a:lnTo>
                  <a:lnTo>
                    <a:pt x="746" y="302"/>
                  </a:lnTo>
                  <a:lnTo>
                    <a:pt x="761" y="300"/>
                  </a:lnTo>
                  <a:lnTo>
                    <a:pt x="773" y="298"/>
                  </a:lnTo>
                  <a:lnTo>
                    <a:pt x="791" y="302"/>
                  </a:lnTo>
                  <a:lnTo>
                    <a:pt x="802" y="299"/>
                  </a:lnTo>
                  <a:lnTo>
                    <a:pt x="835" y="302"/>
                  </a:lnTo>
                  <a:lnTo>
                    <a:pt x="889" y="304"/>
                  </a:lnTo>
                  <a:lnTo>
                    <a:pt x="920" y="303"/>
                  </a:lnTo>
                  <a:lnTo>
                    <a:pt x="932" y="304"/>
                  </a:lnTo>
                  <a:lnTo>
                    <a:pt x="898" y="399"/>
                  </a:lnTo>
                  <a:lnTo>
                    <a:pt x="880" y="452"/>
                  </a:lnTo>
                  <a:lnTo>
                    <a:pt x="892" y="483"/>
                  </a:lnTo>
                  <a:lnTo>
                    <a:pt x="890" y="516"/>
                  </a:lnTo>
                  <a:lnTo>
                    <a:pt x="889" y="518"/>
                  </a:lnTo>
                  <a:lnTo>
                    <a:pt x="882" y="515"/>
                  </a:lnTo>
                  <a:lnTo>
                    <a:pt x="880" y="515"/>
                  </a:lnTo>
                  <a:lnTo>
                    <a:pt x="863" y="509"/>
                  </a:lnTo>
                  <a:lnTo>
                    <a:pt x="859" y="509"/>
                  </a:lnTo>
                  <a:lnTo>
                    <a:pt x="840" y="501"/>
                  </a:lnTo>
                  <a:lnTo>
                    <a:pt x="827" y="497"/>
                  </a:lnTo>
                  <a:lnTo>
                    <a:pt x="810" y="496"/>
                  </a:lnTo>
                  <a:lnTo>
                    <a:pt x="791" y="495"/>
                  </a:lnTo>
                  <a:lnTo>
                    <a:pt x="773" y="494"/>
                  </a:lnTo>
                  <a:lnTo>
                    <a:pt x="770" y="494"/>
                  </a:lnTo>
                  <a:lnTo>
                    <a:pt x="768" y="491"/>
                  </a:lnTo>
                  <a:lnTo>
                    <a:pt x="776" y="486"/>
                  </a:lnTo>
                  <a:lnTo>
                    <a:pt x="782" y="485"/>
                  </a:lnTo>
                  <a:lnTo>
                    <a:pt x="792" y="482"/>
                  </a:lnTo>
                  <a:lnTo>
                    <a:pt x="792" y="479"/>
                  </a:lnTo>
                  <a:lnTo>
                    <a:pt x="794" y="478"/>
                  </a:lnTo>
                  <a:lnTo>
                    <a:pt x="799" y="470"/>
                  </a:lnTo>
                  <a:lnTo>
                    <a:pt x="798" y="467"/>
                  </a:lnTo>
                  <a:lnTo>
                    <a:pt x="794" y="464"/>
                  </a:lnTo>
                  <a:lnTo>
                    <a:pt x="787" y="461"/>
                  </a:lnTo>
                  <a:lnTo>
                    <a:pt x="780" y="460"/>
                  </a:lnTo>
                  <a:lnTo>
                    <a:pt x="775" y="464"/>
                  </a:lnTo>
                  <a:lnTo>
                    <a:pt x="773" y="465"/>
                  </a:lnTo>
                  <a:lnTo>
                    <a:pt x="769" y="470"/>
                  </a:lnTo>
                  <a:lnTo>
                    <a:pt x="769" y="472"/>
                  </a:lnTo>
                  <a:lnTo>
                    <a:pt x="768" y="473"/>
                  </a:lnTo>
                  <a:lnTo>
                    <a:pt x="761" y="473"/>
                  </a:lnTo>
                  <a:lnTo>
                    <a:pt x="756" y="479"/>
                  </a:lnTo>
                  <a:lnTo>
                    <a:pt x="754" y="477"/>
                  </a:lnTo>
                  <a:lnTo>
                    <a:pt x="754" y="474"/>
                  </a:lnTo>
                  <a:lnTo>
                    <a:pt x="760" y="471"/>
                  </a:lnTo>
                  <a:lnTo>
                    <a:pt x="761" y="468"/>
                  </a:lnTo>
                  <a:lnTo>
                    <a:pt x="760" y="466"/>
                  </a:lnTo>
                  <a:lnTo>
                    <a:pt x="756" y="465"/>
                  </a:lnTo>
                  <a:lnTo>
                    <a:pt x="754" y="460"/>
                  </a:lnTo>
                  <a:lnTo>
                    <a:pt x="752" y="460"/>
                  </a:lnTo>
                  <a:lnTo>
                    <a:pt x="751" y="458"/>
                  </a:lnTo>
                  <a:lnTo>
                    <a:pt x="754" y="456"/>
                  </a:lnTo>
                  <a:lnTo>
                    <a:pt x="754" y="454"/>
                  </a:lnTo>
                  <a:lnTo>
                    <a:pt x="748" y="452"/>
                  </a:lnTo>
                  <a:lnTo>
                    <a:pt x="748" y="448"/>
                  </a:lnTo>
                  <a:lnTo>
                    <a:pt x="743" y="447"/>
                  </a:lnTo>
                  <a:lnTo>
                    <a:pt x="742" y="447"/>
                  </a:lnTo>
                  <a:lnTo>
                    <a:pt x="739" y="448"/>
                  </a:lnTo>
                  <a:lnTo>
                    <a:pt x="732" y="449"/>
                  </a:lnTo>
                  <a:lnTo>
                    <a:pt x="731" y="449"/>
                  </a:lnTo>
                  <a:lnTo>
                    <a:pt x="726" y="458"/>
                  </a:lnTo>
                  <a:lnTo>
                    <a:pt x="721" y="467"/>
                  </a:lnTo>
                  <a:lnTo>
                    <a:pt x="719" y="470"/>
                  </a:lnTo>
                  <a:lnTo>
                    <a:pt x="713" y="470"/>
                  </a:lnTo>
                  <a:lnTo>
                    <a:pt x="709" y="472"/>
                  </a:lnTo>
                  <a:lnTo>
                    <a:pt x="706" y="476"/>
                  </a:lnTo>
                  <a:lnTo>
                    <a:pt x="704" y="476"/>
                  </a:lnTo>
                  <a:lnTo>
                    <a:pt x="703" y="477"/>
                  </a:lnTo>
                  <a:lnTo>
                    <a:pt x="704" y="483"/>
                  </a:lnTo>
                  <a:lnTo>
                    <a:pt x="706" y="484"/>
                  </a:lnTo>
                  <a:lnTo>
                    <a:pt x="709" y="485"/>
                  </a:lnTo>
                  <a:lnTo>
                    <a:pt x="715" y="485"/>
                  </a:lnTo>
                  <a:lnTo>
                    <a:pt x="715" y="486"/>
                  </a:lnTo>
                  <a:lnTo>
                    <a:pt x="716" y="488"/>
                  </a:lnTo>
                  <a:lnTo>
                    <a:pt x="715" y="496"/>
                  </a:lnTo>
                  <a:lnTo>
                    <a:pt x="708" y="498"/>
                  </a:lnTo>
                  <a:lnTo>
                    <a:pt x="696" y="498"/>
                  </a:lnTo>
                  <a:lnTo>
                    <a:pt x="691" y="497"/>
                  </a:lnTo>
                  <a:lnTo>
                    <a:pt x="689" y="496"/>
                  </a:lnTo>
                  <a:lnTo>
                    <a:pt x="688" y="498"/>
                  </a:lnTo>
                  <a:lnTo>
                    <a:pt x="688" y="502"/>
                  </a:lnTo>
                  <a:lnTo>
                    <a:pt x="686" y="503"/>
                  </a:lnTo>
                  <a:lnTo>
                    <a:pt x="683" y="503"/>
                  </a:lnTo>
                  <a:lnTo>
                    <a:pt x="679" y="502"/>
                  </a:lnTo>
                  <a:lnTo>
                    <a:pt x="678" y="503"/>
                  </a:lnTo>
                  <a:lnTo>
                    <a:pt x="678" y="504"/>
                  </a:lnTo>
                  <a:lnTo>
                    <a:pt x="674" y="506"/>
                  </a:lnTo>
                  <a:lnTo>
                    <a:pt x="670" y="508"/>
                  </a:lnTo>
                  <a:lnTo>
                    <a:pt x="668" y="512"/>
                  </a:lnTo>
                  <a:lnTo>
                    <a:pt x="667" y="512"/>
                  </a:lnTo>
                  <a:lnTo>
                    <a:pt x="664" y="514"/>
                  </a:lnTo>
                  <a:lnTo>
                    <a:pt x="664" y="518"/>
                  </a:lnTo>
                  <a:lnTo>
                    <a:pt x="659" y="520"/>
                  </a:lnTo>
                  <a:lnTo>
                    <a:pt x="649" y="524"/>
                  </a:lnTo>
                  <a:lnTo>
                    <a:pt x="647" y="525"/>
                  </a:lnTo>
                  <a:lnTo>
                    <a:pt x="643" y="531"/>
                  </a:lnTo>
                  <a:lnTo>
                    <a:pt x="643" y="534"/>
                  </a:lnTo>
                  <a:lnTo>
                    <a:pt x="644" y="537"/>
                  </a:lnTo>
                  <a:lnTo>
                    <a:pt x="643" y="538"/>
                  </a:lnTo>
                  <a:lnTo>
                    <a:pt x="637" y="538"/>
                  </a:lnTo>
                  <a:lnTo>
                    <a:pt x="632" y="542"/>
                  </a:lnTo>
                  <a:lnTo>
                    <a:pt x="629" y="546"/>
                  </a:lnTo>
                  <a:lnTo>
                    <a:pt x="625" y="546"/>
                  </a:lnTo>
                  <a:lnTo>
                    <a:pt x="620" y="546"/>
                  </a:lnTo>
                  <a:lnTo>
                    <a:pt x="618" y="549"/>
                  </a:lnTo>
                  <a:lnTo>
                    <a:pt x="605" y="550"/>
                  </a:lnTo>
                  <a:lnTo>
                    <a:pt x="602" y="551"/>
                  </a:lnTo>
                  <a:lnTo>
                    <a:pt x="598" y="554"/>
                  </a:lnTo>
                  <a:lnTo>
                    <a:pt x="598" y="555"/>
                  </a:lnTo>
                  <a:lnTo>
                    <a:pt x="596" y="555"/>
                  </a:lnTo>
                  <a:lnTo>
                    <a:pt x="592" y="555"/>
                  </a:lnTo>
                  <a:lnTo>
                    <a:pt x="588" y="558"/>
                  </a:lnTo>
                  <a:lnTo>
                    <a:pt x="577" y="560"/>
                  </a:lnTo>
                  <a:lnTo>
                    <a:pt x="569" y="562"/>
                  </a:lnTo>
                  <a:lnTo>
                    <a:pt x="566" y="564"/>
                  </a:lnTo>
                  <a:lnTo>
                    <a:pt x="566" y="567"/>
                  </a:lnTo>
                  <a:lnTo>
                    <a:pt x="547" y="573"/>
                  </a:lnTo>
                  <a:lnTo>
                    <a:pt x="546" y="575"/>
                  </a:lnTo>
                  <a:lnTo>
                    <a:pt x="533" y="579"/>
                  </a:lnTo>
                  <a:lnTo>
                    <a:pt x="529" y="582"/>
                  </a:lnTo>
                  <a:lnTo>
                    <a:pt x="523" y="585"/>
                  </a:lnTo>
                  <a:lnTo>
                    <a:pt x="514" y="591"/>
                  </a:lnTo>
                  <a:lnTo>
                    <a:pt x="512" y="591"/>
                  </a:lnTo>
                  <a:lnTo>
                    <a:pt x="511" y="592"/>
                  </a:lnTo>
                  <a:lnTo>
                    <a:pt x="508" y="592"/>
                  </a:lnTo>
                  <a:lnTo>
                    <a:pt x="508" y="594"/>
                  </a:lnTo>
                  <a:lnTo>
                    <a:pt x="504" y="593"/>
                  </a:lnTo>
                  <a:lnTo>
                    <a:pt x="503" y="594"/>
                  </a:lnTo>
                  <a:lnTo>
                    <a:pt x="504" y="596"/>
                  </a:lnTo>
                  <a:lnTo>
                    <a:pt x="503" y="597"/>
                  </a:lnTo>
                  <a:lnTo>
                    <a:pt x="499" y="596"/>
                  </a:lnTo>
                  <a:lnTo>
                    <a:pt x="498" y="598"/>
                  </a:lnTo>
                  <a:lnTo>
                    <a:pt x="497" y="597"/>
                  </a:lnTo>
                  <a:lnTo>
                    <a:pt x="497" y="599"/>
                  </a:lnTo>
                  <a:lnTo>
                    <a:pt x="496" y="600"/>
                  </a:lnTo>
                  <a:lnTo>
                    <a:pt x="493" y="600"/>
                  </a:lnTo>
                  <a:lnTo>
                    <a:pt x="492" y="603"/>
                  </a:lnTo>
                  <a:lnTo>
                    <a:pt x="490" y="603"/>
                  </a:lnTo>
                  <a:lnTo>
                    <a:pt x="484" y="606"/>
                  </a:lnTo>
                  <a:lnTo>
                    <a:pt x="481" y="605"/>
                  </a:lnTo>
                  <a:lnTo>
                    <a:pt x="481" y="608"/>
                  </a:lnTo>
                  <a:lnTo>
                    <a:pt x="478" y="608"/>
                  </a:lnTo>
                  <a:lnTo>
                    <a:pt x="475" y="610"/>
                  </a:lnTo>
                  <a:lnTo>
                    <a:pt x="473" y="611"/>
                  </a:lnTo>
                  <a:lnTo>
                    <a:pt x="468" y="610"/>
                  </a:lnTo>
                  <a:lnTo>
                    <a:pt x="464" y="611"/>
                  </a:lnTo>
                  <a:lnTo>
                    <a:pt x="456" y="610"/>
                  </a:lnTo>
                  <a:lnTo>
                    <a:pt x="454" y="611"/>
                  </a:lnTo>
                  <a:lnTo>
                    <a:pt x="452" y="610"/>
                  </a:lnTo>
                  <a:lnTo>
                    <a:pt x="449" y="611"/>
                  </a:lnTo>
                  <a:lnTo>
                    <a:pt x="437" y="609"/>
                  </a:lnTo>
                  <a:lnTo>
                    <a:pt x="433" y="612"/>
                  </a:lnTo>
                  <a:lnTo>
                    <a:pt x="430" y="612"/>
                  </a:lnTo>
                  <a:lnTo>
                    <a:pt x="430" y="614"/>
                  </a:lnTo>
                  <a:lnTo>
                    <a:pt x="427" y="615"/>
                  </a:lnTo>
                  <a:lnTo>
                    <a:pt x="427" y="616"/>
                  </a:lnTo>
                  <a:lnTo>
                    <a:pt x="425" y="617"/>
                  </a:lnTo>
                  <a:lnTo>
                    <a:pt x="412" y="616"/>
                  </a:lnTo>
                  <a:lnTo>
                    <a:pt x="409" y="617"/>
                  </a:lnTo>
                  <a:lnTo>
                    <a:pt x="406" y="615"/>
                  </a:lnTo>
                  <a:lnTo>
                    <a:pt x="397" y="611"/>
                  </a:lnTo>
                  <a:lnTo>
                    <a:pt x="390" y="608"/>
                  </a:lnTo>
                  <a:lnTo>
                    <a:pt x="384" y="606"/>
                  </a:lnTo>
                  <a:lnTo>
                    <a:pt x="380" y="605"/>
                  </a:lnTo>
                  <a:lnTo>
                    <a:pt x="360" y="603"/>
                  </a:lnTo>
                  <a:lnTo>
                    <a:pt x="353" y="603"/>
                  </a:lnTo>
                  <a:lnTo>
                    <a:pt x="335" y="592"/>
                  </a:lnTo>
                  <a:lnTo>
                    <a:pt x="328" y="590"/>
                  </a:lnTo>
                  <a:lnTo>
                    <a:pt x="323" y="590"/>
                  </a:lnTo>
                  <a:lnTo>
                    <a:pt x="314" y="586"/>
                  </a:lnTo>
                  <a:lnTo>
                    <a:pt x="313" y="585"/>
                  </a:lnTo>
                  <a:lnTo>
                    <a:pt x="314" y="584"/>
                  </a:lnTo>
                  <a:lnTo>
                    <a:pt x="312" y="581"/>
                  </a:lnTo>
                  <a:lnTo>
                    <a:pt x="312" y="579"/>
                  </a:lnTo>
                  <a:lnTo>
                    <a:pt x="310" y="578"/>
                  </a:lnTo>
                  <a:lnTo>
                    <a:pt x="307" y="578"/>
                  </a:lnTo>
                  <a:lnTo>
                    <a:pt x="298" y="572"/>
                  </a:lnTo>
                  <a:lnTo>
                    <a:pt x="287" y="567"/>
                  </a:lnTo>
                  <a:lnTo>
                    <a:pt x="269" y="563"/>
                  </a:lnTo>
                  <a:lnTo>
                    <a:pt x="264" y="564"/>
                  </a:lnTo>
                  <a:lnTo>
                    <a:pt x="260" y="563"/>
                  </a:lnTo>
                  <a:lnTo>
                    <a:pt x="254" y="563"/>
                  </a:lnTo>
                  <a:lnTo>
                    <a:pt x="251" y="564"/>
                  </a:lnTo>
                  <a:lnTo>
                    <a:pt x="240" y="564"/>
                  </a:lnTo>
                  <a:lnTo>
                    <a:pt x="227" y="562"/>
                  </a:lnTo>
                  <a:lnTo>
                    <a:pt x="224" y="561"/>
                  </a:lnTo>
                  <a:lnTo>
                    <a:pt x="217" y="558"/>
                  </a:lnTo>
                  <a:lnTo>
                    <a:pt x="211" y="561"/>
                  </a:lnTo>
                  <a:lnTo>
                    <a:pt x="208" y="560"/>
                  </a:lnTo>
                  <a:lnTo>
                    <a:pt x="196" y="557"/>
                  </a:lnTo>
                  <a:lnTo>
                    <a:pt x="191" y="557"/>
                  </a:lnTo>
                  <a:lnTo>
                    <a:pt x="185" y="560"/>
                  </a:lnTo>
                  <a:lnTo>
                    <a:pt x="170" y="557"/>
                  </a:lnTo>
                  <a:lnTo>
                    <a:pt x="164" y="556"/>
                  </a:lnTo>
                  <a:lnTo>
                    <a:pt x="160" y="551"/>
                  </a:lnTo>
                  <a:lnTo>
                    <a:pt x="146" y="542"/>
                  </a:lnTo>
                  <a:lnTo>
                    <a:pt x="143" y="538"/>
                  </a:lnTo>
                  <a:lnTo>
                    <a:pt x="137" y="533"/>
                  </a:lnTo>
                  <a:lnTo>
                    <a:pt x="130" y="531"/>
                  </a:lnTo>
                  <a:lnTo>
                    <a:pt x="128" y="528"/>
                  </a:lnTo>
                  <a:lnTo>
                    <a:pt x="125" y="527"/>
                  </a:lnTo>
                  <a:lnTo>
                    <a:pt x="122" y="525"/>
                  </a:lnTo>
                  <a:lnTo>
                    <a:pt x="121" y="526"/>
                  </a:lnTo>
                  <a:lnTo>
                    <a:pt x="116" y="522"/>
                  </a:lnTo>
                  <a:lnTo>
                    <a:pt x="107" y="518"/>
                  </a:lnTo>
                  <a:lnTo>
                    <a:pt x="104" y="515"/>
                  </a:lnTo>
                  <a:lnTo>
                    <a:pt x="88" y="508"/>
                  </a:lnTo>
                  <a:lnTo>
                    <a:pt x="80" y="502"/>
                  </a:lnTo>
                  <a:lnTo>
                    <a:pt x="74" y="502"/>
                  </a:lnTo>
                  <a:lnTo>
                    <a:pt x="65" y="500"/>
                  </a:lnTo>
                  <a:lnTo>
                    <a:pt x="55" y="498"/>
                  </a:lnTo>
                  <a:lnTo>
                    <a:pt x="47" y="496"/>
                  </a:lnTo>
                  <a:lnTo>
                    <a:pt x="38" y="495"/>
                  </a:lnTo>
                  <a:lnTo>
                    <a:pt x="30" y="491"/>
                  </a:lnTo>
                  <a:lnTo>
                    <a:pt x="14" y="486"/>
                  </a:lnTo>
                  <a:lnTo>
                    <a:pt x="10" y="484"/>
                  </a:lnTo>
                  <a:lnTo>
                    <a:pt x="11" y="482"/>
                  </a:lnTo>
                  <a:lnTo>
                    <a:pt x="0" y="471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8" name="Freeform 26"/>
            <p:cNvSpPr>
              <a:spLocks/>
            </p:cNvSpPr>
            <p:nvPr/>
          </p:nvSpPr>
          <p:spPr bwMode="auto">
            <a:xfrm>
              <a:off x="5741988" y="4389438"/>
              <a:ext cx="520700" cy="508000"/>
            </a:xfrm>
            <a:custGeom>
              <a:avLst/>
              <a:gdLst>
                <a:gd name="T0" fmla="*/ 35282188 w 656"/>
                <a:gd name="T1" fmla="*/ 369727011 h 639"/>
                <a:gd name="T2" fmla="*/ 41582975 w 656"/>
                <a:gd name="T3" fmla="*/ 376679218 h 639"/>
                <a:gd name="T4" fmla="*/ 49143444 w 656"/>
                <a:gd name="T5" fmla="*/ 377311236 h 639"/>
                <a:gd name="T6" fmla="*/ 51663600 w 656"/>
                <a:gd name="T7" fmla="*/ 381103349 h 639"/>
                <a:gd name="T8" fmla="*/ 58593831 w 656"/>
                <a:gd name="T9" fmla="*/ 381103349 h 639"/>
                <a:gd name="T10" fmla="*/ 62373669 w 656"/>
                <a:gd name="T11" fmla="*/ 386159499 h 639"/>
                <a:gd name="T12" fmla="*/ 71824850 w 656"/>
                <a:gd name="T13" fmla="*/ 394375743 h 639"/>
                <a:gd name="T14" fmla="*/ 99546569 w 656"/>
                <a:gd name="T15" fmla="*/ 395639781 h 639"/>
                <a:gd name="T16" fmla="*/ 103326406 w 656"/>
                <a:gd name="T17" fmla="*/ 392479687 h 639"/>
                <a:gd name="T18" fmla="*/ 109627194 w 656"/>
                <a:gd name="T19" fmla="*/ 377311236 h 639"/>
                <a:gd name="T20" fmla="*/ 119077581 w 656"/>
                <a:gd name="T21" fmla="*/ 369094992 h 639"/>
                <a:gd name="T22" fmla="*/ 134198519 w 656"/>
                <a:gd name="T23" fmla="*/ 373519124 h 639"/>
                <a:gd name="T24" fmla="*/ 162550475 w 656"/>
                <a:gd name="T25" fmla="*/ 386159499 h 639"/>
                <a:gd name="T26" fmla="*/ 186491563 w 656"/>
                <a:gd name="T27" fmla="*/ 403856025 h 639"/>
                <a:gd name="T28" fmla="*/ 389993981 w 656"/>
                <a:gd name="T29" fmla="*/ 390583631 h 639"/>
                <a:gd name="T30" fmla="*/ 412045944 w 656"/>
                <a:gd name="T31" fmla="*/ 371623067 h 639"/>
                <a:gd name="T32" fmla="*/ 399445163 w 656"/>
                <a:gd name="T33" fmla="*/ 201612401 h 639"/>
                <a:gd name="T34" fmla="*/ 284147419 w 656"/>
                <a:gd name="T35" fmla="*/ 47400613 h 639"/>
                <a:gd name="T36" fmla="*/ 267136563 w 656"/>
                <a:gd name="T37" fmla="*/ 49928689 h 639"/>
                <a:gd name="T38" fmla="*/ 257055938 w 656"/>
                <a:gd name="T39" fmla="*/ 46136576 h 639"/>
                <a:gd name="T40" fmla="*/ 243195475 w 656"/>
                <a:gd name="T41" fmla="*/ 632019 h 639"/>
                <a:gd name="T42" fmla="*/ 233114850 w 656"/>
                <a:gd name="T43" fmla="*/ 15168451 h 639"/>
                <a:gd name="T44" fmla="*/ 233114850 w 656"/>
                <a:gd name="T45" fmla="*/ 110602491 h 639"/>
                <a:gd name="T46" fmla="*/ 236264450 w 656"/>
                <a:gd name="T47" fmla="*/ 127034185 h 639"/>
                <a:gd name="T48" fmla="*/ 223663669 w 656"/>
                <a:gd name="T49" fmla="*/ 136514466 h 639"/>
                <a:gd name="T50" fmla="*/ 211693125 w 656"/>
                <a:gd name="T51" fmla="*/ 145994748 h 639"/>
                <a:gd name="T52" fmla="*/ 208542731 w 656"/>
                <a:gd name="T53" fmla="*/ 172539537 h 639"/>
                <a:gd name="T54" fmla="*/ 206652813 w 656"/>
                <a:gd name="T55" fmla="*/ 196556250 h 639"/>
                <a:gd name="T56" fmla="*/ 196572188 w 656"/>
                <a:gd name="T57" fmla="*/ 216148038 h 639"/>
                <a:gd name="T58" fmla="*/ 117817106 w 656"/>
                <a:gd name="T59" fmla="*/ 278085878 h 639"/>
                <a:gd name="T60" fmla="*/ 103326406 w 656"/>
                <a:gd name="T61" fmla="*/ 285037290 h 639"/>
                <a:gd name="T62" fmla="*/ 97026413 w 656"/>
                <a:gd name="T63" fmla="*/ 287565365 h 639"/>
                <a:gd name="T64" fmla="*/ 88205469 w 656"/>
                <a:gd name="T65" fmla="*/ 293253534 h 639"/>
                <a:gd name="T66" fmla="*/ 83165156 w 656"/>
                <a:gd name="T67" fmla="*/ 295781609 h 639"/>
                <a:gd name="T68" fmla="*/ 0 w 656"/>
                <a:gd name="T69" fmla="*/ 304629872 h 639"/>
                <a:gd name="T70" fmla="*/ 32762031 w 656"/>
                <a:gd name="T71" fmla="*/ 328014567 h 639"/>
                <a:gd name="T72" fmla="*/ 34651950 w 656"/>
                <a:gd name="T73" fmla="*/ 360879543 h 63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56"/>
                <a:gd name="T112" fmla="*/ 0 h 639"/>
                <a:gd name="T113" fmla="*/ 656 w 656"/>
                <a:gd name="T114" fmla="*/ 639 h 63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56" h="639">
                  <a:moveTo>
                    <a:pt x="55" y="571"/>
                  </a:moveTo>
                  <a:lnTo>
                    <a:pt x="56" y="585"/>
                  </a:lnTo>
                  <a:lnTo>
                    <a:pt x="63" y="585"/>
                  </a:lnTo>
                  <a:lnTo>
                    <a:pt x="66" y="596"/>
                  </a:lnTo>
                  <a:lnTo>
                    <a:pt x="72" y="597"/>
                  </a:lnTo>
                  <a:lnTo>
                    <a:pt x="78" y="597"/>
                  </a:lnTo>
                  <a:lnTo>
                    <a:pt x="81" y="599"/>
                  </a:lnTo>
                  <a:lnTo>
                    <a:pt x="82" y="603"/>
                  </a:lnTo>
                  <a:lnTo>
                    <a:pt x="88" y="605"/>
                  </a:lnTo>
                  <a:lnTo>
                    <a:pt x="93" y="603"/>
                  </a:lnTo>
                  <a:lnTo>
                    <a:pt x="96" y="605"/>
                  </a:lnTo>
                  <a:lnTo>
                    <a:pt x="99" y="611"/>
                  </a:lnTo>
                  <a:lnTo>
                    <a:pt x="112" y="620"/>
                  </a:lnTo>
                  <a:lnTo>
                    <a:pt x="114" y="624"/>
                  </a:lnTo>
                  <a:lnTo>
                    <a:pt x="116" y="626"/>
                  </a:lnTo>
                  <a:lnTo>
                    <a:pt x="158" y="626"/>
                  </a:lnTo>
                  <a:lnTo>
                    <a:pt x="165" y="627"/>
                  </a:lnTo>
                  <a:lnTo>
                    <a:pt x="164" y="621"/>
                  </a:lnTo>
                  <a:lnTo>
                    <a:pt x="175" y="619"/>
                  </a:lnTo>
                  <a:lnTo>
                    <a:pt x="174" y="597"/>
                  </a:lnTo>
                  <a:lnTo>
                    <a:pt x="181" y="587"/>
                  </a:lnTo>
                  <a:lnTo>
                    <a:pt x="189" y="584"/>
                  </a:lnTo>
                  <a:lnTo>
                    <a:pt x="205" y="587"/>
                  </a:lnTo>
                  <a:lnTo>
                    <a:pt x="213" y="591"/>
                  </a:lnTo>
                  <a:lnTo>
                    <a:pt x="224" y="593"/>
                  </a:lnTo>
                  <a:lnTo>
                    <a:pt x="258" y="611"/>
                  </a:lnTo>
                  <a:lnTo>
                    <a:pt x="292" y="611"/>
                  </a:lnTo>
                  <a:lnTo>
                    <a:pt x="296" y="639"/>
                  </a:lnTo>
                  <a:lnTo>
                    <a:pt x="386" y="633"/>
                  </a:lnTo>
                  <a:lnTo>
                    <a:pt x="619" y="618"/>
                  </a:lnTo>
                  <a:lnTo>
                    <a:pt x="656" y="617"/>
                  </a:lnTo>
                  <a:lnTo>
                    <a:pt x="654" y="588"/>
                  </a:lnTo>
                  <a:lnTo>
                    <a:pt x="638" y="374"/>
                  </a:lnTo>
                  <a:lnTo>
                    <a:pt x="634" y="319"/>
                  </a:lnTo>
                  <a:lnTo>
                    <a:pt x="481" y="114"/>
                  </a:lnTo>
                  <a:lnTo>
                    <a:pt x="451" y="75"/>
                  </a:lnTo>
                  <a:lnTo>
                    <a:pt x="444" y="85"/>
                  </a:lnTo>
                  <a:lnTo>
                    <a:pt x="424" y="79"/>
                  </a:lnTo>
                  <a:lnTo>
                    <a:pt x="418" y="75"/>
                  </a:lnTo>
                  <a:lnTo>
                    <a:pt x="408" y="73"/>
                  </a:lnTo>
                  <a:lnTo>
                    <a:pt x="390" y="74"/>
                  </a:lnTo>
                  <a:lnTo>
                    <a:pt x="386" y="1"/>
                  </a:lnTo>
                  <a:lnTo>
                    <a:pt x="381" y="0"/>
                  </a:lnTo>
                  <a:lnTo>
                    <a:pt x="370" y="24"/>
                  </a:lnTo>
                  <a:lnTo>
                    <a:pt x="361" y="75"/>
                  </a:lnTo>
                  <a:lnTo>
                    <a:pt x="370" y="175"/>
                  </a:lnTo>
                  <a:lnTo>
                    <a:pt x="375" y="194"/>
                  </a:lnTo>
                  <a:lnTo>
                    <a:pt x="375" y="201"/>
                  </a:lnTo>
                  <a:lnTo>
                    <a:pt x="363" y="211"/>
                  </a:lnTo>
                  <a:lnTo>
                    <a:pt x="355" y="216"/>
                  </a:lnTo>
                  <a:lnTo>
                    <a:pt x="342" y="230"/>
                  </a:lnTo>
                  <a:lnTo>
                    <a:pt x="336" y="231"/>
                  </a:lnTo>
                  <a:lnTo>
                    <a:pt x="333" y="236"/>
                  </a:lnTo>
                  <a:lnTo>
                    <a:pt x="331" y="273"/>
                  </a:lnTo>
                  <a:lnTo>
                    <a:pt x="332" y="296"/>
                  </a:lnTo>
                  <a:lnTo>
                    <a:pt x="328" y="311"/>
                  </a:lnTo>
                  <a:lnTo>
                    <a:pt x="322" y="329"/>
                  </a:lnTo>
                  <a:lnTo>
                    <a:pt x="312" y="342"/>
                  </a:lnTo>
                  <a:lnTo>
                    <a:pt x="297" y="356"/>
                  </a:lnTo>
                  <a:lnTo>
                    <a:pt x="187" y="440"/>
                  </a:lnTo>
                  <a:lnTo>
                    <a:pt x="182" y="445"/>
                  </a:lnTo>
                  <a:lnTo>
                    <a:pt x="164" y="451"/>
                  </a:lnTo>
                  <a:lnTo>
                    <a:pt x="162" y="453"/>
                  </a:lnTo>
                  <a:lnTo>
                    <a:pt x="154" y="455"/>
                  </a:lnTo>
                  <a:lnTo>
                    <a:pt x="153" y="457"/>
                  </a:lnTo>
                  <a:lnTo>
                    <a:pt x="140" y="464"/>
                  </a:lnTo>
                  <a:lnTo>
                    <a:pt x="138" y="463"/>
                  </a:lnTo>
                  <a:lnTo>
                    <a:pt x="132" y="468"/>
                  </a:lnTo>
                  <a:lnTo>
                    <a:pt x="123" y="469"/>
                  </a:lnTo>
                  <a:lnTo>
                    <a:pt x="0" y="482"/>
                  </a:lnTo>
                  <a:lnTo>
                    <a:pt x="21" y="512"/>
                  </a:lnTo>
                  <a:lnTo>
                    <a:pt x="52" y="519"/>
                  </a:lnTo>
                  <a:lnTo>
                    <a:pt x="54" y="551"/>
                  </a:lnTo>
                  <a:lnTo>
                    <a:pt x="55" y="571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9" name="Freeform 27"/>
            <p:cNvSpPr>
              <a:spLocks/>
            </p:cNvSpPr>
            <p:nvPr/>
          </p:nvSpPr>
          <p:spPr bwMode="auto">
            <a:xfrm>
              <a:off x="5494338" y="4894263"/>
              <a:ext cx="600075" cy="552450"/>
            </a:xfrm>
            <a:custGeom>
              <a:avLst/>
              <a:gdLst>
                <a:gd name="T0" fmla="*/ 32675154 w 757"/>
                <a:gd name="T1" fmla="*/ 114037269 h 696"/>
                <a:gd name="T2" fmla="*/ 52783612 w 757"/>
                <a:gd name="T3" fmla="*/ 102066725 h 696"/>
                <a:gd name="T4" fmla="*/ 59067356 w 757"/>
                <a:gd name="T5" fmla="*/ 95135700 h 696"/>
                <a:gd name="T6" fmla="*/ 74148501 w 757"/>
                <a:gd name="T7" fmla="*/ 58593831 h 696"/>
                <a:gd name="T8" fmla="*/ 79803633 w 757"/>
                <a:gd name="T9" fmla="*/ 52293044 h 696"/>
                <a:gd name="T10" fmla="*/ 87344602 w 757"/>
                <a:gd name="T11" fmla="*/ 15120938 h 696"/>
                <a:gd name="T12" fmla="*/ 98654867 w 757"/>
                <a:gd name="T13" fmla="*/ 3780631 h 696"/>
                <a:gd name="T14" fmla="*/ 121904800 w 757"/>
                <a:gd name="T15" fmla="*/ 14490700 h 696"/>
                <a:gd name="T16" fmla="*/ 126932113 w 757"/>
                <a:gd name="T17" fmla="*/ 33392269 h 696"/>
                <a:gd name="T18" fmla="*/ 133843677 w 757"/>
                <a:gd name="T19" fmla="*/ 61113988 h 696"/>
                <a:gd name="T20" fmla="*/ 154580747 w 757"/>
                <a:gd name="T21" fmla="*/ 66154300 h 696"/>
                <a:gd name="T22" fmla="*/ 171546143 w 757"/>
                <a:gd name="T23" fmla="*/ 77494606 h 696"/>
                <a:gd name="T24" fmla="*/ 209249403 w 757"/>
                <a:gd name="T25" fmla="*/ 32131794 h 696"/>
                <a:gd name="T26" fmla="*/ 214904535 w 757"/>
                <a:gd name="T27" fmla="*/ 25831800 h 696"/>
                <a:gd name="T28" fmla="*/ 228100636 w 757"/>
                <a:gd name="T29" fmla="*/ 16381413 h 696"/>
                <a:gd name="T30" fmla="*/ 239410900 w 757"/>
                <a:gd name="T31" fmla="*/ 15120938 h 696"/>
                <a:gd name="T32" fmla="*/ 245694645 w 757"/>
                <a:gd name="T33" fmla="*/ 3780631 h 696"/>
                <a:gd name="T34" fmla="*/ 256377089 w 757"/>
                <a:gd name="T35" fmla="*/ 5670550 h 696"/>
                <a:gd name="T36" fmla="*/ 262033014 w 757"/>
                <a:gd name="T37" fmla="*/ 5040313 h 696"/>
                <a:gd name="T38" fmla="*/ 272086847 w 757"/>
                <a:gd name="T39" fmla="*/ 10710863 h 696"/>
                <a:gd name="T40" fmla="*/ 279627023 w 757"/>
                <a:gd name="T41" fmla="*/ 10710863 h 696"/>
                <a:gd name="T42" fmla="*/ 286539380 w 757"/>
                <a:gd name="T43" fmla="*/ 27721719 h 696"/>
                <a:gd name="T44" fmla="*/ 302248344 w 757"/>
                <a:gd name="T45" fmla="*/ 39692263 h 696"/>
                <a:gd name="T46" fmla="*/ 298478256 w 757"/>
                <a:gd name="T47" fmla="*/ 56073675 h 696"/>
                <a:gd name="T48" fmla="*/ 320471758 w 757"/>
                <a:gd name="T49" fmla="*/ 61113988 h 696"/>
                <a:gd name="T50" fmla="*/ 331782022 w 757"/>
                <a:gd name="T51" fmla="*/ 64893825 h 696"/>
                <a:gd name="T52" fmla="*/ 336180723 w 757"/>
                <a:gd name="T53" fmla="*/ 73084531 h 696"/>
                <a:gd name="T54" fmla="*/ 330525591 w 757"/>
                <a:gd name="T55" fmla="*/ 80014763 h 696"/>
                <a:gd name="T56" fmla="*/ 348748212 w 757"/>
                <a:gd name="T57" fmla="*/ 88205469 h 696"/>
                <a:gd name="T58" fmla="*/ 421011669 w 757"/>
                <a:gd name="T59" fmla="*/ 139869069 h 696"/>
                <a:gd name="T60" fmla="*/ 464369267 w 757"/>
                <a:gd name="T61" fmla="*/ 175151256 h 696"/>
                <a:gd name="T62" fmla="*/ 458085523 w 757"/>
                <a:gd name="T63" fmla="*/ 226183825 h 696"/>
                <a:gd name="T64" fmla="*/ 291565900 w 757"/>
                <a:gd name="T65" fmla="*/ 271546638 h 696"/>
                <a:gd name="T66" fmla="*/ 255120658 w 757"/>
                <a:gd name="T67" fmla="*/ 326360631 h 696"/>
                <a:gd name="T68" fmla="*/ 260147177 w 757"/>
                <a:gd name="T69" fmla="*/ 332030388 h 696"/>
                <a:gd name="T70" fmla="*/ 258890746 w 757"/>
                <a:gd name="T71" fmla="*/ 358492425 h 696"/>
                <a:gd name="T72" fmla="*/ 266430922 w 757"/>
                <a:gd name="T73" fmla="*/ 384953669 h 696"/>
                <a:gd name="T74" fmla="*/ 261404402 w 757"/>
                <a:gd name="T75" fmla="*/ 411415706 h 696"/>
                <a:gd name="T76" fmla="*/ 252607001 w 757"/>
                <a:gd name="T77" fmla="*/ 435356794 h 696"/>
                <a:gd name="T78" fmla="*/ 249464733 w 757"/>
                <a:gd name="T79" fmla="*/ 432207194 h 696"/>
                <a:gd name="T80" fmla="*/ 197309733 w 757"/>
                <a:gd name="T81" fmla="*/ 385583906 h 696"/>
                <a:gd name="T82" fmla="*/ 185370857 w 757"/>
                <a:gd name="T83" fmla="*/ 374243600 h 696"/>
                <a:gd name="T84" fmla="*/ 179715725 w 757"/>
                <a:gd name="T85" fmla="*/ 369832731 h 696"/>
                <a:gd name="T86" fmla="*/ 168404668 w 757"/>
                <a:gd name="T87" fmla="*/ 354711794 h 696"/>
                <a:gd name="T88" fmla="*/ 160864491 w 757"/>
                <a:gd name="T89" fmla="*/ 349042038 h 696"/>
                <a:gd name="T90" fmla="*/ 152694910 w 757"/>
                <a:gd name="T91" fmla="*/ 344001725 h 696"/>
                <a:gd name="T92" fmla="*/ 154580747 w 757"/>
                <a:gd name="T93" fmla="*/ 347151325 h 696"/>
                <a:gd name="T94" fmla="*/ 145783346 w 757"/>
                <a:gd name="T95" fmla="*/ 339590856 h 696"/>
                <a:gd name="T96" fmla="*/ 125047069 w 757"/>
                <a:gd name="T97" fmla="*/ 320690081 h 696"/>
                <a:gd name="T98" fmla="*/ 106195836 w 757"/>
                <a:gd name="T99" fmla="*/ 305569144 h 696"/>
                <a:gd name="T100" fmla="*/ 76033545 w 757"/>
                <a:gd name="T101" fmla="*/ 283517975 h 696"/>
                <a:gd name="T102" fmla="*/ 62837444 w 757"/>
                <a:gd name="T103" fmla="*/ 273437350 h 696"/>
                <a:gd name="T104" fmla="*/ 47756299 w 757"/>
                <a:gd name="T105" fmla="*/ 265246644 h 696"/>
                <a:gd name="T106" fmla="*/ 32047334 w 757"/>
                <a:gd name="T107" fmla="*/ 257055938 h 696"/>
                <a:gd name="T108" fmla="*/ 27020022 w 757"/>
                <a:gd name="T109" fmla="*/ 253905544 h 696"/>
                <a:gd name="T110" fmla="*/ 15081145 w 757"/>
                <a:gd name="T111" fmla="*/ 252645863 h 696"/>
                <a:gd name="T112" fmla="*/ 7540176 w 757"/>
                <a:gd name="T113" fmla="*/ 226814063 h 69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57"/>
                <a:gd name="T172" fmla="*/ 0 h 696"/>
                <a:gd name="T173" fmla="*/ 757 w 757"/>
                <a:gd name="T174" fmla="*/ 696 h 69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57" h="696">
                  <a:moveTo>
                    <a:pt x="0" y="329"/>
                  </a:moveTo>
                  <a:lnTo>
                    <a:pt x="18" y="276"/>
                  </a:lnTo>
                  <a:lnTo>
                    <a:pt x="52" y="181"/>
                  </a:lnTo>
                  <a:lnTo>
                    <a:pt x="60" y="174"/>
                  </a:lnTo>
                  <a:lnTo>
                    <a:pt x="76" y="163"/>
                  </a:lnTo>
                  <a:lnTo>
                    <a:pt x="84" y="162"/>
                  </a:lnTo>
                  <a:lnTo>
                    <a:pt x="81" y="159"/>
                  </a:lnTo>
                  <a:lnTo>
                    <a:pt x="90" y="153"/>
                  </a:lnTo>
                  <a:lnTo>
                    <a:pt x="94" y="151"/>
                  </a:lnTo>
                  <a:lnTo>
                    <a:pt x="94" y="143"/>
                  </a:lnTo>
                  <a:lnTo>
                    <a:pt x="115" y="93"/>
                  </a:lnTo>
                  <a:lnTo>
                    <a:pt x="118" y="93"/>
                  </a:lnTo>
                  <a:lnTo>
                    <a:pt x="122" y="90"/>
                  </a:lnTo>
                  <a:lnTo>
                    <a:pt x="122" y="86"/>
                  </a:lnTo>
                  <a:lnTo>
                    <a:pt x="127" y="83"/>
                  </a:lnTo>
                  <a:lnTo>
                    <a:pt x="127" y="80"/>
                  </a:lnTo>
                  <a:lnTo>
                    <a:pt x="135" y="71"/>
                  </a:lnTo>
                  <a:lnTo>
                    <a:pt x="139" y="24"/>
                  </a:lnTo>
                  <a:lnTo>
                    <a:pt x="150" y="6"/>
                  </a:lnTo>
                  <a:lnTo>
                    <a:pt x="154" y="5"/>
                  </a:lnTo>
                  <a:lnTo>
                    <a:pt x="157" y="6"/>
                  </a:lnTo>
                  <a:lnTo>
                    <a:pt x="176" y="6"/>
                  </a:lnTo>
                  <a:lnTo>
                    <a:pt x="182" y="9"/>
                  </a:lnTo>
                  <a:lnTo>
                    <a:pt x="194" y="23"/>
                  </a:lnTo>
                  <a:lnTo>
                    <a:pt x="204" y="29"/>
                  </a:lnTo>
                  <a:lnTo>
                    <a:pt x="205" y="39"/>
                  </a:lnTo>
                  <a:lnTo>
                    <a:pt x="202" y="53"/>
                  </a:lnTo>
                  <a:lnTo>
                    <a:pt x="202" y="68"/>
                  </a:lnTo>
                  <a:lnTo>
                    <a:pt x="206" y="73"/>
                  </a:lnTo>
                  <a:lnTo>
                    <a:pt x="213" y="97"/>
                  </a:lnTo>
                  <a:lnTo>
                    <a:pt x="217" y="101"/>
                  </a:lnTo>
                  <a:lnTo>
                    <a:pt x="236" y="101"/>
                  </a:lnTo>
                  <a:lnTo>
                    <a:pt x="246" y="105"/>
                  </a:lnTo>
                  <a:lnTo>
                    <a:pt x="258" y="121"/>
                  </a:lnTo>
                  <a:lnTo>
                    <a:pt x="262" y="123"/>
                  </a:lnTo>
                  <a:lnTo>
                    <a:pt x="273" y="123"/>
                  </a:lnTo>
                  <a:lnTo>
                    <a:pt x="276" y="122"/>
                  </a:lnTo>
                  <a:lnTo>
                    <a:pt x="302" y="86"/>
                  </a:lnTo>
                  <a:lnTo>
                    <a:pt x="333" y="51"/>
                  </a:lnTo>
                  <a:lnTo>
                    <a:pt x="334" y="44"/>
                  </a:lnTo>
                  <a:lnTo>
                    <a:pt x="337" y="42"/>
                  </a:lnTo>
                  <a:lnTo>
                    <a:pt x="342" y="41"/>
                  </a:lnTo>
                  <a:lnTo>
                    <a:pt x="346" y="36"/>
                  </a:lnTo>
                  <a:lnTo>
                    <a:pt x="357" y="29"/>
                  </a:lnTo>
                  <a:lnTo>
                    <a:pt x="363" y="26"/>
                  </a:lnTo>
                  <a:lnTo>
                    <a:pt x="367" y="23"/>
                  </a:lnTo>
                  <a:lnTo>
                    <a:pt x="378" y="23"/>
                  </a:lnTo>
                  <a:lnTo>
                    <a:pt x="381" y="24"/>
                  </a:lnTo>
                  <a:lnTo>
                    <a:pt x="385" y="21"/>
                  </a:lnTo>
                  <a:lnTo>
                    <a:pt x="388" y="5"/>
                  </a:lnTo>
                  <a:lnTo>
                    <a:pt x="391" y="6"/>
                  </a:lnTo>
                  <a:lnTo>
                    <a:pt x="405" y="0"/>
                  </a:lnTo>
                  <a:lnTo>
                    <a:pt x="406" y="3"/>
                  </a:lnTo>
                  <a:lnTo>
                    <a:pt x="408" y="9"/>
                  </a:lnTo>
                  <a:lnTo>
                    <a:pt x="410" y="11"/>
                  </a:lnTo>
                  <a:lnTo>
                    <a:pt x="412" y="9"/>
                  </a:lnTo>
                  <a:lnTo>
                    <a:pt x="417" y="8"/>
                  </a:lnTo>
                  <a:lnTo>
                    <a:pt x="426" y="13"/>
                  </a:lnTo>
                  <a:lnTo>
                    <a:pt x="427" y="17"/>
                  </a:lnTo>
                  <a:lnTo>
                    <a:pt x="433" y="17"/>
                  </a:lnTo>
                  <a:lnTo>
                    <a:pt x="439" y="13"/>
                  </a:lnTo>
                  <a:lnTo>
                    <a:pt x="442" y="13"/>
                  </a:lnTo>
                  <a:lnTo>
                    <a:pt x="445" y="17"/>
                  </a:lnTo>
                  <a:lnTo>
                    <a:pt x="446" y="27"/>
                  </a:lnTo>
                  <a:lnTo>
                    <a:pt x="451" y="43"/>
                  </a:lnTo>
                  <a:lnTo>
                    <a:pt x="456" y="44"/>
                  </a:lnTo>
                  <a:lnTo>
                    <a:pt x="468" y="45"/>
                  </a:lnTo>
                  <a:lnTo>
                    <a:pt x="474" y="50"/>
                  </a:lnTo>
                  <a:lnTo>
                    <a:pt x="481" y="63"/>
                  </a:lnTo>
                  <a:lnTo>
                    <a:pt x="480" y="69"/>
                  </a:lnTo>
                  <a:lnTo>
                    <a:pt x="475" y="79"/>
                  </a:lnTo>
                  <a:lnTo>
                    <a:pt x="475" y="89"/>
                  </a:lnTo>
                  <a:lnTo>
                    <a:pt x="478" y="92"/>
                  </a:lnTo>
                  <a:lnTo>
                    <a:pt x="500" y="93"/>
                  </a:lnTo>
                  <a:lnTo>
                    <a:pt x="510" y="97"/>
                  </a:lnTo>
                  <a:lnTo>
                    <a:pt x="510" y="103"/>
                  </a:lnTo>
                  <a:lnTo>
                    <a:pt x="514" y="103"/>
                  </a:lnTo>
                  <a:lnTo>
                    <a:pt x="528" y="103"/>
                  </a:lnTo>
                  <a:lnTo>
                    <a:pt x="530" y="110"/>
                  </a:lnTo>
                  <a:lnTo>
                    <a:pt x="535" y="111"/>
                  </a:lnTo>
                  <a:lnTo>
                    <a:pt x="535" y="116"/>
                  </a:lnTo>
                  <a:lnTo>
                    <a:pt x="531" y="117"/>
                  </a:lnTo>
                  <a:lnTo>
                    <a:pt x="529" y="126"/>
                  </a:lnTo>
                  <a:lnTo>
                    <a:pt x="526" y="127"/>
                  </a:lnTo>
                  <a:lnTo>
                    <a:pt x="525" y="129"/>
                  </a:lnTo>
                  <a:lnTo>
                    <a:pt x="530" y="129"/>
                  </a:lnTo>
                  <a:lnTo>
                    <a:pt x="555" y="140"/>
                  </a:lnTo>
                  <a:lnTo>
                    <a:pt x="606" y="185"/>
                  </a:lnTo>
                  <a:lnTo>
                    <a:pt x="637" y="204"/>
                  </a:lnTo>
                  <a:lnTo>
                    <a:pt x="670" y="222"/>
                  </a:lnTo>
                  <a:lnTo>
                    <a:pt x="698" y="245"/>
                  </a:lnTo>
                  <a:lnTo>
                    <a:pt x="721" y="273"/>
                  </a:lnTo>
                  <a:lnTo>
                    <a:pt x="739" y="278"/>
                  </a:lnTo>
                  <a:lnTo>
                    <a:pt x="757" y="287"/>
                  </a:lnTo>
                  <a:lnTo>
                    <a:pt x="750" y="323"/>
                  </a:lnTo>
                  <a:lnTo>
                    <a:pt x="729" y="359"/>
                  </a:lnTo>
                  <a:lnTo>
                    <a:pt x="498" y="380"/>
                  </a:lnTo>
                  <a:lnTo>
                    <a:pt x="476" y="408"/>
                  </a:lnTo>
                  <a:lnTo>
                    <a:pt x="464" y="431"/>
                  </a:lnTo>
                  <a:lnTo>
                    <a:pt x="421" y="509"/>
                  </a:lnTo>
                  <a:lnTo>
                    <a:pt x="409" y="515"/>
                  </a:lnTo>
                  <a:lnTo>
                    <a:pt x="406" y="518"/>
                  </a:lnTo>
                  <a:lnTo>
                    <a:pt x="405" y="522"/>
                  </a:lnTo>
                  <a:lnTo>
                    <a:pt x="406" y="524"/>
                  </a:lnTo>
                  <a:lnTo>
                    <a:pt x="414" y="527"/>
                  </a:lnTo>
                  <a:lnTo>
                    <a:pt x="414" y="548"/>
                  </a:lnTo>
                  <a:lnTo>
                    <a:pt x="408" y="561"/>
                  </a:lnTo>
                  <a:lnTo>
                    <a:pt x="412" y="569"/>
                  </a:lnTo>
                  <a:lnTo>
                    <a:pt x="432" y="573"/>
                  </a:lnTo>
                  <a:lnTo>
                    <a:pt x="430" y="601"/>
                  </a:lnTo>
                  <a:lnTo>
                    <a:pt x="424" y="611"/>
                  </a:lnTo>
                  <a:lnTo>
                    <a:pt x="416" y="617"/>
                  </a:lnTo>
                  <a:lnTo>
                    <a:pt x="418" y="645"/>
                  </a:lnTo>
                  <a:lnTo>
                    <a:pt x="416" y="653"/>
                  </a:lnTo>
                  <a:lnTo>
                    <a:pt x="421" y="673"/>
                  </a:lnTo>
                  <a:lnTo>
                    <a:pt x="406" y="696"/>
                  </a:lnTo>
                  <a:lnTo>
                    <a:pt x="402" y="691"/>
                  </a:lnTo>
                  <a:lnTo>
                    <a:pt x="399" y="689"/>
                  </a:lnTo>
                  <a:lnTo>
                    <a:pt x="400" y="690"/>
                  </a:lnTo>
                  <a:lnTo>
                    <a:pt x="397" y="686"/>
                  </a:lnTo>
                  <a:lnTo>
                    <a:pt x="342" y="638"/>
                  </a:lnTo>
                  <a:lnTo>
                    <a:pt x="318" y="615"/>
                  </a:lnTo>
                  <a:lnTo>
                    <a:pt x="314" y="612"/>
                  </a:lnTo>
                  <a:lnTo>
                    <a:pt x="315" y="613"/>
                  </a:lnTo>
                  <a:lnTo>
                    <a:pt x="309" y="609"/>
                  </a:lnTo>
                  <a:lnTo>
                    <a:pt x="295" y="594"/>
                  </a:lnTo>
                  <a:lnTo>
                    <a:pt x="294" y="588"/>
                  </a:lnTo>
                  <a:lnTo>
                    <a:pt x="292" y="585"/>
                  </a:lnTo>
                  <a:lnTo>
                    <a:pt x="286" y="587"/>
                  </a:lnTo>
                  <a:lnTo>
                    <a:pt x="265" y="564"/>
                  </a:lnTo>
                  <a:lnTo>
                    <a:pt x="267" y="565"/>
                  </a:lnTo>
                  <a:lnTo>
                    <a:pt x="268" y="563"/>
                  </a:lnTo>
                  <a:lnTo>
                    <a:pt x="261" y="558"/>
                  </a:lnTo>
                  <a:lnTo>
                    <a:pt x="259" y="555"/>
                  </a:lnTo>
                  <a:lnTo>
                    <a:pt x="256" y="554"/>
                  </a:lnTo>
                  <a:lnTo>
                    <a:pt x="255" y="553"/>
                  </a:lnTo>
                  <a:lnTo>
                    <a:pt x="249" y="551"/>
                  </a:lnTo>
                  <a:lnTo>
                    <a:pt x="243" y="546"/>
                  </a:lnTo>
                  <a:lnTo>
                    <a:pt x="242" y="546"/>
                  </a:lnTo>
                  <a:lnTo>
                    <a:pt x="247" y="551"/>
                  </a:lnTo>
                  <a:lnTo>
                    <a:pt x="246" y="551"/>
                  </a:lnTo>
                  <a:lnTo>
                    <a:pt x="241" y="546"/>
                  </a:lnTo>
                  <a:lnTo>
                    <a:pt x="237" y="543"/>
                  </a:lnTo>
                  <a:lnTo>
                    <a:pt x="232" y="539"/>
                  </a:lnTo>
                  <a:lnTo>
                    <a:pt x="229" y="536"/>
                  </a:lnTo>
                  <a:lnTo>
                    <a:pt x="204" y="513"/>
                  </a:lnTo>
                  <a:lnTo>
                    <a:pt x="199" y="509"/>
                  </a:lnTo>
                  <a:lnTo>
                    <a:pt x="196" y="506"/>
                  </a:lnTo>
                  <a:lnTo>
                    <a:pt x="171" y="488"/>
                  </a:lnTo>
                  <a:lnTo>
                    <a:pt x="169" y="485"/>
                  </a:lnTo>
                  <a:lnTo>
                    <a:pt x="158" y="476"/>
                  </a:lnTo>
                  <a:lnTo>
                    <a:pt x="139" y="461"/>
                  </a:lnTo>
                  <a:lnTo>
                    <a:pt x="121" y="450"/>
                  </a:lnTo>
                  <a:lnTo>
                    <a:pt x="118" y="447"/>
                  </a:lnTo>
                  <a:lnTo>
                    <a:pt x="115" y="446"/>
                  </a:lnTo>
                  <a:lnTo>
                    <a:pt x="100" y="434"/>
                  </a:lnTo>
                  <a:lnTo>
                    <a:pt x="94" y="431"/>
                  </a:lnTo>
                  <a:lnTo>
                    <a:pt x="82" y="423"/>
                  </a:lnTo>
                  <a:lnTo>
                    <a:pt x="76" y="421"/>
                  </a:lnTo>
                  <a:lnTo>
                    <a:pt x="72" y="417"/>
                  </a:lnTo>
                  <a:lnTo>
                    <a:pt x="61" y="411"/>
                  </a:lnTo>
                  <a:lnTo>
                    <a:pt x="51" y="408"/>
                  </a:lnTo>
                  <a:lnTo>
                    <a:pt x="48" y="408"/>
                  </a:lnTo>
                  <a:lnTo>
                    <a:pt x="44" y="405"/>
                  </a:lnTo>
                  <a:lnTo>
                    <a:pt x="43" y="403"/>
                  </a:lnTo>
                  <a:lnTo>
                    <a:pt x="40" y="401"/>
                  </a:lnTo>
                  <a:lnTo>
                    <a:pt x="30" y="399"/>
                  </a:lnTo>
                  <a:lnTo>
                    <a:pt x="24" y="401"/>
                  </a:lnTo>
                  <a:lnTo>
                    <a:pt x="13" y="396"/>
                  </a:lnTo>
                  <a:lnTo>
                    <a:pt x="10" y="393"/>
                  </a:lnTo>
                  <a:lnTo>
                    <a:pt x="12" y="360"/>
                  </a:lnTo>
                  <a:lnTo>
                    <a:pt x="0" y="329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0" name="Freeform 28"/>
            <p:cNvSpPr>
              <a:spLocks/>
            </p:cNvSpPr>
            <p:nvPr/>
          </p:nvSpPr>
          <p:spPr bwMode="auto">
            <a:xfrm>
              <a:off x="6245225" y="4233863"/>
              <a:ext cx="342900" cy="631825"/>
            </a:xfrm>
            <a:custGeom>
              <a:avLst/>
              <a:gdLst>
                <a:gd name="T0" fmla="*/ 15191027 w 431"/>
                <a:gd name="T1" fmla="*/ 490826552 h 797"/>
                <a:gd name="T2" fmla="*/ 30382054 w 431"/>
                <a:gd name="T3" fmla="*/ 487684075 h 797"/>
                <a:gd name="T4" fmla="*/ 41142431 w 431"/>
                <a:gd name="T5" fmla="*/ 494596891 h 797"/>
                <a:gd name="T6" fmla="*/ 54435176 w 431"/>
                <a:gd name="T7" fmla="*/ 490197898 h 797"/>
                <a:gd name="T8" fmla="*/ 60131612 w 431"/>
                <a:gd name="T9" fmla="*/ 478886091 h 797"/>
                <a:gd name="T10" fmla="*/ 70259494 w 431"/>
                <a:gd name="T11" fmla="*/ 464431013 h 797"/>
                <a:gd name="T12" fmla="*/ 77855007 w 431"/>
                <a:gd name="T13" fmla="*/ 442435258 h 797"/>
                <a:gd name="T14" fmla="*/ 89881171 w 431"/>
                <a:gd name="T15" fmla="*/ 416039718 h 797"/>
                <a:gd name="T16" fmla="*/ 102540625 w 431"/>
                <a:gd name="T17" fmla="*/ 417297026 h 797"/>
                <a:gd name="T18" fmla="*/ 117098361 w 431"/>
                <a:gd name="T19" fmla="*/ 410383418 h 797"/>
                <a:gd name="T20" fmla="*/ 124061379 w 431"/>
                <a:gd name="T21" fmla="*/ 392786656 h 797"/>
                <a:gd name="T22" fmla="*/ 131656893 w 431"/>
                <a:gd name="T23" fmla="*/ 383988671 h 797"/>
                <a:gd name="T24" fmla="*/ 134188465 w 431"/>
                <a:gd name="T25" fmla="*/ 372047416 h 797"/>
                <a:gd name="T26" fmla="*/ 140518192 w 431"/>
                <a:gd name="T27" fmla="*/ 365763255 h 797"/>
                <a:gd name="T28" fmla="*/ 146215424 w 431"/>
                <a:gd name="T29" fmla="*/ 380217540 h 797"/>
                <a:gd name="T30" fmla="*/ 143050561 w 431"/>
                <a:gd name="T31" fmla="*/ 395929133 h 797"/>
                <a:gd name="T32" fmla="*/ 142417270 w 431"/>
                <a:gd name="T33" fmla="*/ 405984426 h 797"/>
                <a:gd name="T34" fmla="*/ 142417270 w 431"/>
                <a:gd name="T35" fmla="*/ 414154549 h 797"/>
                <a:gd name="T36" fmla="*/ 156975801 w 431"/>
                <a:gd name="T37" fmla="*/ 423581188 h 797"/>
                <a:gd name="T38" fmla="*/ 162672237 w 431"/>
                <a:gd name="T39" fmla="*/ 429237488 h 797"/>
                <a:gd name="T40" fmla="*/ 162672237 w 431"/>
                <a:gd name="T41" fmla="*/ 436150304 h 797"/>
                <a:gd name="T42" fmla="*/ 166470392 w 431"/>
                <a:gd name="T43" fmla="*/ 443691773 h 797"/>
                <a:gd name="T44" fmla="*/ 168368674 w 431"/>
                <a:gd name="T45" fmla="*/ 446205596 h 797"/>
                <a:gd name="T46" fmla="*/ 172166828 w 431"/>
                <a:gd name="T47" fmla="*/ 451233243 h 797"/>
                <a:gd name="T48" fmla="*/ 175964187 w 431"/>
                <a:gd name="T49" fmla="*/ 426723665 h 797"/>
                <a:gd name="T50" fmla="*/ 181661419 w 431"/>
                <a:gd name="T51" fmla="*/ 402841948 h 797"/>
                <a:gd name="T52" fmla="*/ 187991146 w 431"/>
                <a:gd name="T53" fmla="*/ 374561239 h 797"/>
                <a:gd name="T54" fmla="*/ 193054291 w 431"/>
                <a:gd name="T55" fmla="*/ 343138846 h 797"/>
                <a:gd name="T56" fmla="*/ 195586659 w 431"/>
                <a:gd name="T57" fmla="*/ 332454899 h 797"/>
                <a:gd name="T58" fmla="*/ 206979532 w 431"/>
                <a:gd name="T59" fmla="*/ 298517890 h 797"/>
                <a:gd name="T60" fmla="*/ 200650600 w 431"/>
                <a:gd name="T61" fmla="*/ 298517890 h 797"/>
                <a:gd name="T62" fmla="*/ 181028128 w 431"/>
                <a:gd name="T63" fmla="*/ 312344314 h 797"/>
                <a:gd name="T64" fmla="*/ 181028128 w 431"/>
                <a:gd name="T65" fmla="*/ 304174190 h 797"/>
                <a:gd name="T66" fmla="*/ 184826282 w 431"/>
                <a:gd name="T67" fmla="*/ 292861590 h 797"/>
                <a:gd name="T68" fmla="*/ 194953368 w 431"/>
                <a:gd name="T69" fmla="*/ 291605074 h 797"/>
                <a:gd name="T70" fmla="*/ 208878609 w 431"/>
                <a:gd name="T71" fmla="*/ 267094704 h 797"/>
                <a:gd name="T72" fmla="*/ 203815464 w 431"/>
                <a:gd name="T73" fmla="*/ 260181888 h 797"/>
                <a:gd name="T74" fmla="*/ 200650600 w 431"/>
                <a:gd name="T75" fmla="*/ 264580881 h 797"/>
                <a:gd name="T76" fmla="*/ 189256932 w 431"/>
                <a:gd name="T77" fmla="*/ 270865835 h 797"/>
                <a:gd name="T78" fmla="*/ 177863264 w 431"/>
                <a:gd name="T79" fmla="*/ 270865835 h 797"/>
                <a:gd name="T80" fmla="*/ 178496555 w 431"/>
                <a:gd name="T81" fmla="*/ 263324365 h 797"/>
                <a:gd name="T82" fmla="*/ 191156010 w 431"/>
                <a:gd name="T83" fmla="*/ 238814788 h 797"/>
                <a:gd name="T84" fmla="*/ 200017309 w 431"/>
                <a:gd name="T85" fmla="*/ 235043657 h 797"/>
                <a:gd name="T86" fmla="*/ 199384018 w 431"/>
                <a:gd name="T87" fmla="*/ 217446894 h 797"/>
                <a:gd name="T88" fmla="*/ 206347036 w 431"/>
                <a:gd name="T89" fmla="*/ 175968415 h 797"/>
                <a:gd name="T90" fmla="*/ 219638986 w 431"/>
                <a:gd name="T91" fmla="*/ 148316360 h 797"/>
                <a:gd name="T92" fmla="*/ 242426322 w 431"/>
                <a:gd name="T93" fmla="*/ 123178129 h 797"/>
                <a:gd name="T94" fmla="*/ 257617349 w 431"/>
                <a:gd name="T95" fmla="*/ 101810235 h 797"/>
                <a:gd name="T96" fmla="*/ 263947076 w 431"/>
                <a:gd name="T97" fmla="*/ 76672003 h 797"/>
                <a:gd name="T98" fmla="*/ 269643512 w 431"/>
                <a:gd name="T99" fmla="*/ 69130534 h 797"/>
                <a:gd name="T100" fmla="*/ 264579571 w 431"/>
                <a:gd name="T101" fmla="*/ 52162426 h 797"/>
                <a:gd name="T102" fmla="*/ 263947076 w 431"/>
                <a:gd name="T103" fmla="*/ 29537224 h 797"/>
                <a:gd name="T104" fmla="*/ 256351563 w 431"/>
                <a:gd name="T105" fmla="*/ 21367893 h 797"/>
                <a:gd name="T106" fmla="*/ 249388545 w 431"/>
                <a:gd name="T107" fmla="*/ 17596762 h 797"/>
                <a:gd name="T108" fmla="*/ 237994877 w 431"/>
                <a:gd name="T109" fmla="*/ 4398992 h 797"/>
                <a:gd name="T110" fmla="*/ 212043473 w 431"/>
                <a:gd name="T111" fmla="*/ 8170124 h 797"/>
                <a:gd name="T112" fmla="*/ 194953368 w 431"/>
                <a:gd name="T113" fmla="*/ 7541470 h 797"/>
                <a:gd name="T114" fmla="*/ 186092069 w 431"/>
                <a:gd name="T115" fmla="*/ 16340247 h 797"/>
                <a:gd name="T116" fmla="*/ 175964187 w 431"/>
                <a:gd name="T117" fmla="*/ 19481931 h 79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1"/>
                <a:gd name="T178" fmla="*/ 0 h 797"/>
                <a:gd name="T179" fmla="*/ 431 w 431"/>
                <a:gd name="T180" fmla="*/ 797 h 79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1" h="797">
                  <a:moveTo>
                    <a:pt x="0" y="516"/>
                  </a:moveTo>
                  <a:lnTo>
                    <a:pt x="4" y="571"/>
                  </a:lnTo>
                  <a:lnTo>
                    <a:pt x="20" y="785"/>
                  </a:lnTo>
                  <a:lnTo>
                    <a:pt x="22" y="784"/>
                  </a:lnTo>
                  <a:lnTo>
                    <a:pt x="24" y="781"/>
                  </a:lnTo>
                  <a:lnTo>
                    <a:pt x="28" y="780"/>
                  </a:lnTo>
                  <a:lnTo>
                    <a:pt x="30" y="776"/>
                  </a:lnTo>
                  <a:lnTo>
                    <a:pt x="40" y="772"/>
                  </a:lnTo>
                  <a:lnTo>
                    <a:pt x="42" y="772"/>
                  </a:lnTo>
                  <a:lnTo>
                    <a:pt x="48" y="776"/>
                  </a:lnTo>
                  <a:lnTo>
                    <a:pt x="52" y="781"/>
                  </a:lnTo>
                  <a:lnTo>
                    <a:pt x="53" y="780"/>
                  </a:lnTo>
                  <a:lnTo>
                    <a:pt x="56" y="781"/>
                  </a:lnTo>
                  <a:lnTo>
                    <a:pt x="60" y="780"/>
                  </a:lnTo>
                  <a:lnTo>
                    <a:pt x="65" y="787"/>
                  </a:lnTo>
                  <a:lnTo>
                    <a:pt x="72" y="790"/>
                  </a:lnTo>
                  <a:lnTo>
                    <a:pt x="81" y="797"/>
                  </a:lnTo>
                  <a:lnTo>
                    <a:pt x="78" y="786"/>
                  </a:lnTo>
                  <a:lnTo>
                    <a:pt x="81" y="782"/>
                  </a:lnTo>
                  <a:lnTo>
                    <a:pt x="86" y="780"/>
                  </a:lnTo>
                  <a:lnTo>
                    <a:pt x="88" y="775"/>
                  </a:lnTo>
                  <a:lnTo>
                    <a:pt x="92" y="773"/>
                  </a:lnTo>
                  <a:lnTo>
                    <a:pt x="92" y="770"/>
                  </a:lnTo>
                  <a:lnTo>
                    <a:pt x="94" y="767"/>
                  </a:lnTo>
                  <a:lnTo>
                    <a:pt x="95" y="762"/>
                  </a:lnTo>
                  <a:lnTo>
                    <a:pt x="98" y="758"/>
                  </a:lnTo>
                  <a:lnTo>
                    <a:pt x="106" y="755"/>
                  </a:lnTo>
                  <a:lnTo>
                    <a:pt x="107" y="752"/>
                  </a:lnTo>
                  <a:lnTo>
                    <a:pt x="107" y="746"/>
                  </a:lnTo>
                  <a:lnTo>
                    <a:pt x="111" y="739"/>
                  </a:lnTo>
                  <a:lnTo>
                    <a:pt x="113" y="731"/>
                  </a:lnTo>
                  <a:lnTo>
                    <a:pt x="117" y="722"/>
                  </a:lnTo>
                  <a:lnTo>
                    <a:pt x="119" y="721"/>
                  </a:lnTo>
                  <a:lnTo>
                    <a:pt x="122" y="719"/>
                  </a:lnTo>
                  <a:lnTo>
                    <a:pt x="123" y="704"/>
                  </a:lnTo>
                  <a:lnTo>
                    <a:pt x="131" y="694"/>
                  </a:lnTo>
                  <a:lnTo>
                    <a:pt x="131" y="690"/>
                  </a:lnTo>
                  <a:lnTo>
                    <a:pt x="132" y="682"/>
                  </a:lnTo>
                  <a:lnTo>
                    <a:pt x="136" y="670"/>
                  </a:lnTo>
                  <a:lnTo>
                    <a:pt x="142" y="662"/>
                  </a:lnTo>
                  <a:lnTo>
                    <a:pt x="147" y="664"/>
                  </a:lnTo>
                  <a:lnTo>
                    <a:pt x="148" y="665"/>
                  </a:lnTo>
                  <a:lnTo>
                    <a:pt x="149" y="665"/>
                  </a:lnTo>
                  <a:lnTo>
                    <a:pt x="159" y="661"/>
                  </a:lnTo>
                  <a:lnTo>
                    <a:pt x="162" y="664"/>
                  </a:lnTo>
                  <a:lnTo>
                    <a:pt x="171" y="661"/>
                  </a:lnTo>
                  <a:lnTo>
                    <a:pt x="176" y="662"/>
                  </a:lnTo>
                  <a:lnTo>
                    <a:pt x="180" y="661"/>
                  </a:lnTo>
                  <a:lnTo>
                    <a:pt x="185" y="655"/>
                  </a:lnTo>
                  <a:lnTo>
                    <a:pt x="185" y="653"/>
                  </a:lnTo>
                  <a:lnTo>
                    <a:pt x="191" y="640"/>
                  </a:lnTo>
                  <a:lnTo>
                    <a:pt x="191" y="637"/>
                  </a:lnTo>
                  <a:lnTo>
                    <a:pt x="192" y="635"/>
                  </a:lnTo>
                  <a:lnTo>
                    <a:pt x="195" y="630"/>
                  </a:lnTo>
                  <a:lnTo>
                    <a:pt x="196" y="625"/>
                  </a:lnTo>
                  <a:lnTo>
                    <a:pt x="198" y="620"/>
                  </a:lnTo>
                  <a:lnTo>
                    <a:pt x="203" y="618"/>
                  </a:lnTo>
                  <a:lnTo>
                    <a:pt x="204" y="613"/>
                  </a:lnTo>
                  <a:lnTo>
                    <a:pt x="207" y="613"/>
                  </a:lnTo>
                  <a:lnTo>
                    <a:pt x="208" y="611"/>
                  </a:lnTo>
                  <a:lnTo>
                    <a:pt x="207" y="610"/>
                  </a:lnTo>
                  <a:lnTo>
                    <a:pt x="208" y="604"/>
                  </a:lnTo>
                  <a:lnTo>
                    <a:pt x="208" y="601"/>
                  </a:lnTo>
                  <a:lnTo>
                    <a:pt x="212" y="594"/>
                  </a:lnTo>
                  <a:lnTo>
                    <a:pt x="212" y="592"/>
                  </a:lnTo>
                  <a:lnTo>
                    <a:pt x="212" y="590"/>
                  </a:lnTo>
                  <a:lnTo>
                    <a:pt x="216" y="587"/>
                  </a:lnTo>
                  <a:lnTo>
                    <a:pt x="218" y="581"/>
                  </a:lnTo>
                  <a:lnTo>
                    <a:pt x="221" y="580"/>
                  </a:lnTo>
                  <a:lnTo>
                    <a:pt x="222" y="582"/>
                  </a:lnTo>
                  <a:lnTo>
                    <a:pt x="224" y="589"/>
                  </a:lnTo>
                  <a:lnTo>
                    <a:pt x="226" y="590"/>
                  </a:lnTo>
                  <a:lnTo>
                    <a:pt x="230" y="595"/>
                  </a:lnTo>
                  <a:lnTo>
                    <a:pt x="230" y="600"/>
                  </a:lnTo>
                  <a:lnTo>
                    <a:pt x="231" y="605"/>
                  </a:lnTo>
                  <a:lnTo>
                    <a:pt x="230" y="611"/>
                  </a:lnTo>
                  <a:lnTo>
                    <a:pt x="230" y="612"/>
                  </a:lnTo>
                  <a:lnTo>
                    <a:pt x="231" y="616"/>
                  </a:lnTo>
                  <a:lnTo>
                    <a:pt x="230" y="626"/>
                  </a:lnTo>
                  <a:lnTo>
                    <a:pt x="226" y="630"/>
                  </a:lnTo>
                  <a:lnTo>
                    <a:pt x="225" y="636"/>
                  </a:lnTo>
                  <a:lnTo>
                    <a:pt x="225" y="637"/>
                  </a:lnTo>
                  <a:lnTo>
                    <a:pt x="225" y="640"/>
                  </a:lnTo>
                  <a:lnTo>
                    <a:pt x="225" y="644"/>
                  </a:lnTo>
                  <a:lnTo>
                    <a:pt x="225" y="646"/>
                  </a:lnTo>
                  <a:lnTo>
                    <a:pt x="220" y="649"/>
                  </a:lnTo>
                  <a:lnTo>
                    <a:pt x="219" y="652"/>
                  </a:lnTo>
                  <a:lnTo>
                    <a:pt x="220" y="653"/>
                  </a:lnTo>
                  <a:lnTo>
                    <a:pt x="221" y="658"/>
                  </a:lnTo>
                  <a:lnTo>
                    <a:pt x="225" y="659"/>
                  </a:lnTo>
                  <a:lnTo>
                    <a:pt x="240" y="664"/>
                  </a:lnTo>
                  <a:lnTo>
                    <a:pt x="248" y="665"/>
                  </a:lnTo>
                  <a:lnTo>
                    <a:pt x="249" y="667"/>
                  </a:lnTo>
                  <a:lnTo>
                    <a:pt x="248" y="673"/>
                  </a:lnTo>
                  <a:lnTo>
                    <a:pt x="248" y="674"/>
                  </a:lnTo>
                  <a:lnTo>
                    <a:pt x="250" y="677"/>
                  </a:lnTo>
                  <a:lnTo>
                    <a:pt x="252" y="676"/>
                  </a:lnTo>
                  <a:lnTo>
                    <a:pt x="255" y="677"/>
                  </a:lnTo>
                  <a:lnTo>
                    <a:pt x="256" y="679"/>
                  </a:lnTo>
                  <a:lnTo>
                    <a:pt x="257" y="683"/>
                  </a:lnTo>
                  <a:lnTo>
                    <a:pt x="260" y="684"/>
                  </a:lnTo>
                  <a:lnTo>
                    <a:pt x="261" y="689"/>
                  </a:lnTo>
                  <a:lnTo>
                    <a:pt x="260" y="694"/>
                  </a:lnTo>
                  <a:lnTo>
                    <a:pt x="258" y="692"/>
                  </a:lnTo>
                  <a:lnTo>
                    <a:pt x="257" y="694"/>
                  </a:lnTo>
                  <a:lnTo>
                    <a:pt x="258" y="698"/>
                  </a:lnTo>
                  <a:lnTo>
                    <a:pt x="260" y="700"/>
                  </a:lnTo>
                  <a:lnTo>
                    <a:pt x="261" y="698"/>
                  </a:lnTo>
                  <a:lnTo>
                    <a:pt x="262" y="698"/>
                  </a:lnTo>
                  <a:lnTo>
                    <a:pt x="263" y="706"/>
                  </a:lnTo>
                  <a:lnTo>
                    <a:pt x="260" y="708"/>
                  </a:lnTo>
                  <a:lnTo>
                    <a:pt x="261" y="712"/>
                  </a:lnTo>
                  <a:lnTo>
                    <a:pt x="264" y="714"/>
                  </a:lnTo>
                  <a:lnTo>
                    <a:pt x="266" y="712"/>
                  </a:lnTo>
                  <a:lnTo>
                    <a:pt x="266" y="710"/>
                  </a:lnTo>
                  <a:lnTo>
                    <a:pt x="268" y="708"/>
                  </a:lnTo>
                  <a:lnTo>
                    <a:pt x="268" y="713"/>
                  </a:lnTo>
                  <a:lnTo>
                    <a:pt x="269" y="714"/>
                  </a:lnTo>
                  <a:lnTo>
                    <a:pt x="270" y="718"/>
                  </a:lnTo>
                  <a:lnTo>
                    <a:pt x="272" y="718"/>
                  </a:lnTo>
                  <a:lnTo>
                    <a:pt x="273" y="710"/>
                  </a:lnTo>
                  <a:lnTo>
                    <a:pt x="273" y="694"/>
                  </a:lnTo>
                  <a:lnTo>
                    <a:pt x="275" y="686"/>
                  </a:lnTo>
                  <a:lnTo>
                    <a:pt x="276" y="684"/>
                  </a:lnTo>
                  <a:lnTo>
                    <a:pt x="278" y="679"/>
                  </a:lnTo>
                  <a:lnTo>
                    <a:pt x="284" y="668"/>
                  </a:lnTo>
                  <a:lnTo>
                    <a:pt x="284" y="662"/>
                  </a:lnTo>
                  <a:lnTo>
                    <a:pt x="284" y="661"/>
                  </a:lnTo>
                  <a:lnTo>
                    <a:pt x="284" y="648"/>
                  </a:lnTo>
                  <a:lnTo>
                    <a:pt x="287" y="641"/>
                  </a:lnTo>
                  <a:lnTo>
                    <a:pt x="286" y="628"/>
                  </a:lnTo>
                  <a:lnTo>
                    <a:pt x="286" y="613"/>
                  </a:lnTo>
                  <a:lnTo>
                    <a:pt x="288" y="606"/>
                  </a:lnTo>
                  <a:lnTo>
                    <a:pt x="293" y="601"/>
                  </a:lnTo>
                  <a:lnTo>
                    <a:pt x="297" y="596"/>
                  </a:lnTo>
                  <a:lnTo>
                    <a:pt x="298" y="590"/>
                  </a:lnTo>
                  <a:lnTo>
                    <a:pt x="299" y="580"/>
                  </a:lnTo>
                  <a:lnTo>
                    <a:pt x="302" y="574"/>
                  </a:lnTo>
                  <a:lnTo>
                    <a:pt x="302" y="557"/>
                  </a:lnTo>
                  <a:lnTo>
                    <a:pt x="305" y="546"/>
                  </a:lnTo>
                  <a:lnTo>
                    <a:pt x="305" y="544"/>
                  </a:lnTo>
                  <a:lnTo>
                    <a:pt x="308" y="538"/>
                  </a:lnTo>
                  <a:lnTo>
                    <a:pt x="308" y="536"/>
                  </a:lnTo>
                  <a:lnTo>
                    <a:pt x="308" y="535"/>
                  </a:lnTo>
                  <a:lnTo>
                    <a:pt x="309" y="529"/>
                  </a:lnTo>
                  <a:lnTo>
                    <a:pt x="311" y="523"/>
                  </a:lnTo>
                  <a:lnTo>
                    <a:pt x="310" y="515"/>
                  </a:lnTo>
                  <a:lnTo>
                    <a:pt x="314" y="497"/>
                  </a:lnTo>
                  <a:lnTo>
                    <a:pt x="326" y="479"/>
                  </a:lnTo>
                  <a:lnTo>
                    <a:pt x="327" y="475"/>
                  </a:lnTo>
                  <a:lnTo>
                    <a:pt x="326" y="475"/>
                  </a:lnTo>
                  <a:lnTo>
                    <a:pt x="323" y="479"/>
                  </a:lnTo>
                  <a:lnTo>
                    <a:pt x="320" y="481"/>
                  </a:lnTo>
                  <a:lnTo>
                    <a:pt x="318" y="475"/>
                  </a:lnTo>
                  <a:lnTo>
                    <a:pt x="317" y="475"/>
                  </a:lnTo>
                  <a:lnTo>
                    <a:pt x="314" y="478"/>
                  </a:lnTo>
                  <a:lnTo>
                    <a:pt x="310" y="479"/>
                  </a:lnTo>
                  <a:lnTo>
                    <a:pt x="297" y="494"/>
                  </a:lnTo>
                  <a:lnTo>
                    <a:pt x="291" y="498"/>
                  </a:lnTo>
                  <a:lnTo>
                    <a:pt x="286" y="497"/>
                  </a:lnTo>
                  <a:lnTo>
                    <a:pt x="286" y="492"/>
                  </a:lnTo>
                  <a:lnTo>
                    <a:pt x="288" y="487"/>
                  </a:lnTo>
                  <a:lnTo>
                    <a:pt x="288" y="486"/>
                  </a:lnTo>
                  <a:lnTo>
                    <a:pt x="287" y="485"/>
                  </a:lnTo>
                  <a:lnTo>
                    <a:pt x="286" y="484"/>
                  </a:lnTo>
                  <a:lnTo>
                    <a:pt x="287" y="481"/>
                  </a:lnTo>
                  <a:lnTo>
                    <a:pt x="288" y="475"/>
                  </a:lnTo>
                  <a:lnTo>
                    <a:pt x="286" y="474"/>
                  </a:lnTo>
                  <a:lnTo>
                    <a:pt x="290" y="469"/>
                  </a:lnTo>
                  <a:lnTo>
                    <a:pt x="292" y="466"/>
                  </a:lnTo>
                  <a:lnTo>
                    <a:pt x="297" y="464"/>
                  </a:lnTo>
                  <a:lnTo>
                    <a:pt x="300" y="461"/>
                  </a:lnTo>
                  <a:lnTo>
                    <a:pt x="303" y="463"/>
                  </a:lnTo>
                  <a:lnTo>
                    <a:pt x="303" y="464"/>
                  </a:lnTo>
                  <a:lnTo>
                    <a:pt x="308" y="464"/>
                  </a:lnTo>
                  <a:lnTo>
                    <a:pt x="311" y="462"/>
                  </a:lnTo>
                  <a:lnTo>
                    <a:pt x="317" y="454"/>
                  </a:lnTo>
                  <a:lnTo>
                    <a:pt x="326" y="448"/>
                  </a:lnTo>
                  <a:lnTo>
                    <a:pt x="327" y="446"/>
                  </a:lnTo>
                  <a:lnTo>
                    <a:pt x="330" y="425"/>
                  </a:lnTo>
                  <a:lnTo>
                    <a:pt x="330" y="420"/>
                  </a:lnTo>
                  <a:lnTo>
                    <a:pt x="327" y="418"/>
                  </a:lnTo>
                  <a:lnTo>
                    <a:pt x="323" y="413"/>
                  </a:lnTo>
                  <a:lnTo>
                    <a:pt x="322" y="413"/>
                  </a:lnTo>
                  <a:lnTo>
                    <a:pt x="322" y="414"/>
                  </a:lnTo>
                  <a:lnTo>
                    <a:pt x="324" y="418"/>
                  </a:lnTo>
                  <a:lnTo>
                    <a:pt x="324" y="419"/>
                  </a:lnTo>
                  <a:lnTo>
                    <a:pt x="321" y="419"/>
                  </a:lnTo>
                  <a:lnTo>
                    <a:pt x="321" y="421"/>
                  </a:lnTo>
                  <a:lnTo>
                    <a:pt x="317" y="421"/>
                  </a:lnTo>
                  <a:lnTo>
                    <a:pt x="315" y="424"/>
                  </a:lnTo>
                  <a:lnTo>
                    <a:pt x="308" y="424"/>
                  </a:lnTo>
                  <a:lnTo>
                    <a:pt x="305" y="426"/>
                  </a:lnTo>
                  <a:lnTo>
                    <a:pt x="304" y="426"/>
                  </a:lnTo>
                  <a:lnTo>
                    <a:pt x="299" y="431"/>
                  </a:lnTo>
                  <a:lnTo>
                    <a:pt x="294" y="432"/>
                  </a:lnTo>
                  <a:lnTo>
                    <a:pt x="292" y="434"/>
                  </a:lnTo>
                  <a:lnTo>
                    <a:pt x="285" y="432"/>
                  </a:lnTo>
                  <a:lnTo>
                    <a:pt x="284" y="431"/>
                  </a:lnTo>
                  <a:lnTo>
                    <a:pt x="281" y="431"/>
                  </a:lnTo>
                  <a:lnTo>
                    <a:pt x="278" y="432"/>
                  </a:lnTo>
                  <a:lnTo>
                    <a:pt x="276" y="432"/>
                  </a:lnTo>
                  <a:lnTo>
                    <a:pt x="275" y="428"/>
                  </a:lnTo>
                  <a:lnTo>
                    <a:pt x="280" y="420"/>
                  </a:lnTo>
                  <a:lnTo>
                    <a:pt x="282" y="419"/>
                  </a:lnTo>
                  <a:lnTo>
                    <a:pt x="285" y="404"/>
                  </a:lnTo>
                  <a:lnTo>
                    <a:pt x="288" y="397"/>
                  </a:lnTo>
                  <a:lnTo>
                    <a:pt x="296" y="383"/>
                  </a:lnTo>
                  <a:lnTo>
                    <a:pt x="298" y="378"/>
                  </a:lnTo>
                  <a:lnTo>
                    <a:pt x="302" y="380"/>
                  </a:lnTo>
                  <a:lnTo>
                    <a:pt x="309" y="378"/>
                  </a:lnTo>
                  <a:lnTo>
                    <a:pt x="314" y="377"/>
                  </a:lnTo>
                  <a:lnTo>
                    <a:pt x="315" y="382"/>
                  </a:lnTo>
                  <a:lnTo>
                    <a:pt x="316" y="382"/>
                  </a:lnTo>
                  <a:lnTo>
                    <a:pt x="316" y="374"/>
                  </a:lnTo>
                  <a:lnTo>
                    <a:pt x="321" y="370"/>
                  </a:lnTo>
                  <a:lnTo>
                    <a:pt x="323" y="360"/>
                  </a:lnTo>
                  <a:lnTo>
                    <a:pt x="321" y="349"/>
                  </a:lnTo>
                  <a:lnTo>
                    <a:pt x="318" y="350"/>
                  </a:lnTo>
                  <a:lnTo>
                    <a:pt x="315" y="346"/>
                  </a:lnTo>
                  <a:lnTo>
                    <a:pt x="312" y="335"/>
                  </a:lnTo>
                  <a:lnTo>
                    <a:pt x="311" y="312"/>
                  </a:lnTo>
                  <a:lnTo>
                    <a:pt x="317" y="290"/>
                  </a:lnTo>
                  <a:lnTo>
                    <a:pt x="323" y="281"/>
                  </a:lnTo>
                  <a:lnTo>
                    <a:pt x="326" y="280"/>
                  </a:lnTo>
                  <a:lnTo>
                    <a:pt x="326" y="277"/>
                  </a:lnTo>
                  <a:lnTo>
                    <a:pt x="327" y="277"/>
                  </a:lnTo>
                  <a:lnTo>
                    <a:pt x="329" y="268"/>
                  </a:lnTo>
                  <a:lnTo>
                    <a:pt x="342" y="242"/>
                  </a:lnTo>
                  <a:lnTo>
                    <a:pt x="347" y="236"/>
                  </a:lnTo>
                  <a:lnTo>
                    <a:pt x="348" y="236"/>
                  </a:lnTo>
                  <a:lnTo>
                    <a:pt x="348" y="234"/>
                  </a:lnTo>
                  <a:lnTo>
                    <a:pt x="364" y="216"/>
                  </a:lnTo>
                  <a:lnTo>
                    <a:pt x="366" y="216"/>
                  </a:lnTo>
                  <a:lnTo>
                    <a:pt x="383" y="196"/>
                  </a:lnTo>
                  <a:lnTo>
                    <a:pt x="387" y="188"/>
                  </a:lnTo>
                  <a:lnTo>
                    <a:pt x="394" y="182"/>
                  </a:lnTo>
                  <a:lnTo>
                    <a:pt x="395" y="178"/>
                  </a:lnTo>
                  <a:lnTo>
                    <a:pt x="402" y="167"/>
                  </a:lnTo>
                  <a:lnTo>
                    <a:pt x="407" y="162"/>
                  </a:lnTo>
                  <a:lnTo>
                    <a:pt x="411" y="155"/>
                  </a:lnTo>
                  <a:lnTo>
                    <a:pt x="412" y="148"/>
                  </a:lnTo>
                  <a:lnTo>
                    <a:pt x="413" y="143"/>
                  </a:lnTo>
                  <a:lnTo>
                    <a:pt x="416" y="142"/>
                  </a:lnTo>
                  <a:lnTo>
                    <a:pt x="417" y="122"/>
                  </a:lnTo>
                  <a:lnTo>
                    <a:pt x="420" y="116"/>
                  </a:lnTo>
                  <a:lnTo>
                    <a:pt x="422" y="114"/>
                  </a:lnTo>
                  <a:lnTo>
                    <a:pt x="425" y="115"/>
                  </a:lnTo>
                  <a:lnTo>
                    <a:pt x="426" y="114"/>
                  </a:lnTo>
                  <a:lnTo>
                    <a:pt x="426" y="110"/>
                  </a:lnTo>
                  <a:lnTo>
                    <a:pt x="429" y="100"/>
                  </a:lnTo>
                  <a:lnTo>
                    <a:pt x="431" y="90"/>
                  </a:lnTo>
                  <a:lnTo>
                    <a:pt x="422" y="90"/>
                  </a:lnTo>
                  <a:lnTo>
                    <a:pt x="420" y="89"/>
                  </a:lnTo>
                  <a:lnTo>
                    <a:pt x="418" y="83"/>
                  </a:lnTo>
                  <a:lnTo>
                    <a:pt x="418" y="71"/>
                  </a:lnTo>
                  <a:lnTo>
                    <a:pt x="413" y="62"/>
                  </a:lnTo>
                  <a:lnTo>
                    <a:pt x="413" y="58"/>
                  </a:lnTo>
                  <a:lnTo>
                    <a:pt x="417" y="50"/>
                  </a:lnTo>
                  <a:lnTo>
                    <a:pt x="417" y="47"/>
                  </a:lnTo>
                  <a:lnTo>
                    <a:pt x="416" y="38"/>
                  </a:lnTo>
                  <a:lnTo>
                    <a:pt x="412" y="35"/>
                  </a:lnTo>
                  <a:lnTo>
                    <a:pt x="410" y="32"/>
                  </a:lnTo>
                  <a:lnTo>
                    <a:pt x="408" y="34"/>
                  </a:lnTo>
                  <a:lnTo>
                    <a:pt x="405" y="34"/>
                  </a:lnTo>
                  <a:lnTo>
                    <a:pt x="402" y="30"/>
                  </a:lnTo>
                  <a:lnTo>
                    <a:pt x="400" y="32"/>
                  </a:lnTo>
                  <a:lnTo>
                    <a:pt x="396" y="31"/>
                  </a:lnTo>
                  <a:lnTo>
                    <a:pt x="393" y="29"/>
                  </a:lnTo>
                  <a:lnTo>
                    <a:pt x="394" y="28"/>
                  </a:lnTo>
                  <a:lnTo>
                    <a:pt x="393" y="25"/>
                  </a:lnTo>
                  <a:lnTo>
                    <a:pt x="389" y="24"/>
                  </a:lnTo>
                  <a:lnTo>
                    <a:pt x="388" y="22"/>
                  </a:lnTo>
                  <a:lnTo>
                    <a:pt x="386" y="20"/>
                  </a:lnTo>
                  <a:lnTo>
                    <a:pt x="376" y="7"/>
                  </a:lnTo>
                  <a:lnTo>
                    <a:pt x="374" y="6"/>
                  </a:lnTo>
                  <a:lnTo>
                    <a:pt x="354" y="0"/>
                  </a:lnTo>
                  <a:lnTo>
                    <a:pt x="353" y="0"/>
                  </a:lnTo>
                  <a:lnTo>
                    <a:pt x="347" y="6"/>
                  </a:lnTo>
                  <a:lnTo>
                    <a:pt x="335" y="13"/>
                  </a:lnTo>
                  <a:lnTo>
                    <a:pt x="327" y="16"/>
                  </a:lnTo>
                  <a:lnTo>
                    <a:pt x="321" y="17"/>
                  </a:lnTo>
                  <a:lnTo>
                    <a:pt x="314" y="16"/>
                  </a:lnTo>
                  <a:lnTo>
                    <a:pt x="310" y="13"/>
                  </a:lnTo>
                  <a:lnTo>
                    <a:pt x="308" y="12"/>
                  </a:lnTo>
                  <a:lnTo>
                    <a:pt x="304" y="18"/>
                  </a:lnTo>
                  <a:lnTo>
                    <a:pt x="299" y="23"/>
                  </a:lnTo>
                  <a:lnTo>
                    <a:pt x="298" y="23"/>
                  </a:lnTo>
                  <a:lnTo>
                    <a:pt x="297" y="23"/>
                  </a:lnTo>
                  <a:lnTo>
                    <a:pt x="294" y="26"/>
                  </a:lnTo>
                  <a:lnTo>
                    <a:pt x="288" y="28"/>
                  </a:lnTo>
                  <a:lnTo>
                    <a:pt x="286" y="31"/>
                  </a:lnTo>
                  <a:lnTo>
                    <a:pt x="284" y="31"/>
                  </a:lnTo>
                  <a:lnTo>
                    <a:pt x="284" y="30"/>
                  </a:lnTo>
                  <a:lnTo>
                    <a:pt x="278" y="31"/>
                  </a:lnTo>
                  <a:lnTo>
                    <a:pt x="286" y="104"/>
                  </a:lnTo>
                  <a:lnTo>
                    <a:pt x="269" y="169"/>
                  </a:lnTo>
                  <a:lnTo>
                    <a:pt x="214" y="239"/>
                  </a:lnTo>
                  <a:lnTo>
                    <a:pt x="0" y="516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1" name="Freeform 29"/>
            <p:cNvSpPr>
              <a:spLocks/>
            </p:cNvSpPr>
            <p:nvPr/>
          </p:nvSpPr>
          <p:spPr bwMode="auto">
            <a:xfrm>
              <a:off x="5492750" y="4773613"/>
              <a:ext cx="490538" cy="234950"/>
            </a:xfrm>
            <a:custGeom>
              <a:avLst/>
              <a:gdLst>
                <a:gd name="T0" fmla="*/ 0 w 618"/>
                <a:gd name="T1" fmla="*/ 82605889 h 297"/>
                <a:gd name="T2" fmla="*/ 4410079 w 618"/>
                <a:gd name="T3" fmla="*/ 94496574 h 297"/>
                <a:gd name="T4" fmla="*/ 3780635 w 618"/>
                <a:gd name="T5" fmla="*/ 114521908 h 297"/>
                <a:gd name="T6" fmla="*/ 8190715 w 618"/>
                <a:gd name="T7" fmla="*/ 118277153 h 297"/>
                <a:gd name="T8" fmla="*/ 18271350 w 618"/>
                <a:gd name="T9" fmla="*/ 126412593 h 297"/>
                <a:gd name="T10" fmla="*/ 32131827 w 618"/>
                <a:gd name="T11" fmla="*/ 137676745 h 297"/>
                <a:gd name="T12" fmla="*/ 40952779 w 618"/>
                <a:gd name="T13" fmla="*/ 140805456 h 297"/>
                <a:gd name="T14" fmla="*/ 47883018 w 618"/>
                <a:gd name="T15" fmla="*/ 153947625 h 297"/>
                <a:gd name="T16" fmla="*/ 56073732 w 618"/>
                <a:gd name="T17" fmla="*/ 180231173 h 297"/>
                <a:gd name="T18" fmla="*/ 74345082 w 618"/>
                <a:gd name="T19" fmla="*/ 154573368 h 297"/>
                <a:gd name="T20" fmla="*/ 78755162 w 618"/>
                <a:gd name="T21" fmla="*/ 150193172 h 297"/>
                <a:gd name="T22" fmla="*/ 86945876 w 618"/>
                <a:gd name="T23" fmla="*/ 140805456 h 297"/>
                <a:gd name="T24" fmla="*/ 98916432 w 618"/>
                <a:gd name="T25" fmla="*/ 99502512 h 297"/>
                <a:gd name="T26" fmla="*/ 116557544 w 618"/>
                <a:gd name="T27" fmla="*/ 102006272 h 297"/>
                <a:gd name="T28" fmla="*/ 131048259 w 618"/>
                <a:gd name="T29" fmla="*/ 120780122 h 297"/>
                <a:gd name="T30" fmla="*/ 131678497 w 618"/>
                <a:gd name="T31" fmla="*/ 142057731 h 297"/>
                <a:gd name="T32" fmla="*/ 150579291 w 618"/>
                <a:gd name="T33" fmla="*/ 159580097 h 297"/>
                <a:gd name="T34" fmla="*/ 166960720 w 618"/>
                <a:gd name="T35" fmla="*/ 173347218 h 297"/>
                <a:gd name="T36" fmla="*/ 192162308 w 618"/>
                <a:gd name="T37" fmla="*/ 150193172 h 297"/>
                <a:gd name="T38" fmla="*/ 214213500 w 618"/>
                <a:gd name="T39" fmla="*/ 122657348 h 297"/>
                <a:gd name="T40" fmla="*/ 226814294 w 618"/>
                <a:gd name="T41" fmla="*/ 114521908 h 297"/>
                <a:gd name="T42" fmla="*/ 240045326 w 618"/>
                <a:gd name="T43" fmla="*/ 110767454 h 297"/>
                <a:gd name="T44" fmla="*/ 246346120 w 618"/>
                <a:gd name="T45" fmla="*/ 99502512 h 297"/>
                <a:gd name="T46" fmla="*/ 257686438 w 618"/>
                <a:gd name="T47" fmla="*/ 98251027 h 297"/>
                <a:gd name="T48" fmla="*/ 261467073 w 618"/>
                <a:gd name="T49" fmla="*/ 102006272 h 297"/>
                <a:gd name="T50" fmla="*/ 270917470 w 618"/>
                <a:gd name="T51" fmla="*/ 107012210 h 297"/>
                <a:gd name="T52" fmla="*/ 280367867 w 618"/>
                <a:gd name="T53" fmla="*/ 104509241 h 297"/>
                <a:gd name="T54" fmla="*/ 286038423 w 618"/>
                <a:gd name="T55" fmla="*/ 123283091 h 297"/>
                <a:gd name="T56" fmla="*/ 300529138 w 618"/>
                <a:gd name="T57" fmla="*/ 127664077 h 297"/>
                <a:gd name="T58" fmla="*/ 301159376 w 618"/>
                <a:gd name="T59" fmla="*/ 145812185 h 297"/>
                <a:gd name="T60" fmla="*/ 316910567 w 618"/>
                <a:gd name="T61" fmla="*/ 154573368 h 297"/>
                <a:gd name="T62" fmla="*/ 325730726 w 618"/>
                <a:gd name="T63" fmla="*/ 160831581 h 297"/>
                <a:gd name="T64" fmla="*/ 338961758 w 618"/>
                <a:gd name="T65" fmla="*/ 165838310 h 297"/>
                <a:gd name="T66" fmla="*/ 335811361 w 618"/>
                <a:gd name="T67" fmla="*/ 173347218 h 297"/>
                <a:gd name="T68" fmla="*/ 384954855 w 618"/>
                <a:gd name="T69" fmla="*/ 98251027 h 297"/>
                <a:gd name="T70" fmla="*/ 339591996 w 618"/>
                <a:gd name="T71" fmla="*/ 69464510 h 297"/>
                <a:gd name="T72" fmla="*/ 317540011 w 618"/>
                <a:gd name="T73" fmla="*/ 63832039 h 297"/>
                <a:gd name="T74" fmla="*/ 308719852 w 618"/>
                <a:gd name="T75" fmla="*/ 85735391 h 297"/>
                <a:gd name="T76" fmla="*/ 298008979 w 618"/>
                <a:gd name="T77" fmla="*/ 90115587 h 297"/>
                <a:gd name="T78" fmla="*/ 269027549 w 618"/>
                <a:gd name="T79" fmla="*/ 86361133 h 297"/>
                <a:gd name="T80" fmla="*/ 257056200 w 618"/>
                <a:gd name="T81" fmla="*/ 75721933 h 297"/>
                <a:gd name="T82" fmla="*/ 249495723 w 618"/>
                <a:gd name="T83" fmla="*/ 73218964 h 297"/>
                <a:gd name="T84" fmla="*/ 240045326 w 618"/>
                <a:gd name="T85" fmla="*/ 71341737 h 297"/>
                <a:gd name="T86" fmla="*/ 233115088 w 618"/>
                <a:gd name="T87" fmla="*/ 55696598 h 297"/>
                <a:gd name="T88" fmla="*/ 211693341 w 618"/>
                <a:gd name="T89" fmla="*/ 18773850 h 297"/>
                <a:gd name="T90" fmla="*/ 196572388 w 618"/>
                <a:gd name="T91" fmla="*/ 625742 h 297"/>
                <a:gd name="T92" fmla="*/ 172631276 w 618"/>
                <a:gd name="T93" fmla="*/ 6258214 h 297"/>
                <a:gd name="T94" fmla="*/ 170111117 w 618"/>
                <a:gd name="T95" fmla="*/ 10638409 h 297"/>
                <a:gd name="T96" fmla="*/ 160659926 w 618"/>
                <a:gd name="T97" fmla="*/ 21277610 h 297"/>
                <a:gd name="T98" fmla="*/ 136088576 w 618"/>
                <a:gd name="T99" fmla="*/ 31916019 h 297"/>
                <a:gd name="T100" fmla="*/ 122857544 w 618"/>
                <a:gd name="T101" fmla="*/ 31916019 h 297"/>
                <a:gd name="T102" fmla="*/ 117817226 w 618"/>
                <a:gd name="T103" fmla="*/ 31916019 h 297"/>
                <a:gd name="T104" fmla="*/ 85055162 w 618"/>
                <a:gd name="T105" fmla="*/ 31916019 h 297"/>
                <a:gd name="T106" fmla="*/ 75604765 w 618"/>
                <a:gd name="T107" fmla="*/ 33167504 h 297"/>
                <a:gd name="T108" fmla="*/ 40952779 w 618"/>
                <a:gd name="T109" fmla="*/ 47561158 h 297"/>
                <a:gd name="T110" fmla="*/ 30241906 w 618"/>
                <a:gd name="T111" fmla="*/ 51941354 h 29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18"/>
                <a:gd name="T169" fmla="*/ 0 h 297"/>
                <a:gd name="T170" fmla="*/ 618 w 618"/>
                <a:gd name="T171" fmla="*/ 297 h 29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18" h="297">
                  <a:moveTo>
                    <a:pt x="1" y="103"/>
                  </a:moveTo>
                  <a:lnTo>
                    <a:pt x="0" y="127"/>
                  </a:lnTo>
                  <a:lnTo>
                    <a:pt x="0" y="132"/>
                  </a:lnTo>
                  <a:lnTo>
                    <a:pt x="4" y="139"/>
                  </a:lnTo>
                  <a:lnTo>
                    <a:pt x="4" y="147"/>
                  </a:lnTo>
                  <a:lnTo>
                    <a:pt x="7" y="151"/>
                  </a:lnTo>
                  <a:lnTo>
                    <a:pt x="10" y="153"/>
                  </a:lnTo>
                  <a:lnTo>
                    <a:pt x="5" y="161"/>
                  </a:lnTo>
                  <a:lnTo>
                    <a:pt x="6" y="183"/>
                  </a:lnTo>
                  <a:lnTo>
                    <a:pt x="10" y="185"/>
                  </a:lnTo>
                  <a:lnTo>
                    <a:pt x="13" y="186"/>
                  </a:lnTo>
                  <a:lnTo>
                    <a:pt x="13" y="189"/>
                  </a:lnTo>
                  <a:lnTo>
                    <a:pt x="18" y="185"/>
                  </a:lnTo>
                  <a:lnTo>
                    <a:pt x="22" y="185"/>
                  </a:lnTo>
                  <a:lnTo>
                    <a:pt x="29" y="202"/>
                  </a:lnTo>
                  <a:lnTo>
                    <a:pt x="36" y="204"/>
                  </a:lnTo>
                  <a:lnTo>
                    <a:pt x="43" y="214"/>
                  </a:lnTo>
                  <a:lnTo>
                    <a:pt x="51" y="220"/>
                  </a:lnTo>
                  <a:lnTo>
                    <a:pt x="55" y="219"/>
                  </a:lnTo>
                  <a:lnTo>
                    <a:pt x="59" y="222"/>
                  </a:lnTo>
                  <a:lnTo>
                    <a:pt x="65" y="225"/>
                  </a:lnTo>
                  <a:lnTo>
                    <a:pt x="70" y="234"/>
                  </a:lnTo>
                  <a:lnTo>
                    <a:pt x="72" y="235"/>
                  </a:lnTo>
                  <a:lnTo>
                    <a:pt x="76" y="246"/>
                  </a:lnTo>
                  <a:lnTo>
                    <a:pt x="79" y="250"/>
                  </a:lnTo>
                  <a:lnTo>
                    <a:pt x="85" y="253"/>
                  </a:lnTo>
                  <a:lnTo>
                    <a:pt x="89" y="288"/>
                  </a:lnTo>
                  <a:lnTo>
                    <a:pt x="95" y="297"/>
                  </a:lnTo>
                  <a:lnTo>
                    <a:pt x="97" y="297"/>
                  </a:lnTo>
                  <a:lnTo>
                    <a:pt x="118" y="247"/>
                  </a:lnTo>
                  <a:lnTo>
                    <a:pt x="121" y="247"/>
                  </a:lnTo>
                  <a:lnTo>
                    <a:pt x="125" y="244"/>
                  </a:lnTo>
                  <a:lnTo>
                    <a:pt x="125" y="240"/>
                  </a:lnTo>
                  <a:lnTo>
                    <a:pt x="130" y="237"/>
                  </a:lnTo>
                  <a:lnTo>
                    <a:pt x="130" y="234"/>
                  </a:lnTo>
                  <a:lnTo>
                    <a:pt x="138" y="225"/>
                  </a:lnTo>
                  <a:lnTo>
                    <a:pt x="142" y="178"/>
                  </a:lnTo>
                  <a:lnTo>
                    <a:pt x="153" y="160"/>
                  </a:lnTo>
                  <a:lnTo>
                    <a:pt x="157" y="159"/>
                  </a:lnTo>
                  <a:lnTo>
                    <a:pt x="160" y="160"/>
                  </a:lnTo>
                  <a:lnTo>
                    <a:pt x="179" y="160"/>
                  </a:lnTo>
                  <a:lnTo>
                    <a:pt x="185" y="163"/>
                  </a:lnTo>
                  <a:lnTo>
                    <a:pt x="197" y="177"/>
                  </a:lnTo>
                  <a:lnTo>
                    <a:pt x="207" y="183"/>
                  </a:lnTo>
                  <a:lnTo>
                    <a:pt x="208" y="193"/>
                  </a:lnTo>
                  <a:lnTo>
                    <a:pt x="205" y="207"/>
                  </a:lnTo>
                  <a:lnTo>
                    <a:pt x="205" y="222"/>
                  </a:lnTo>
                  <a:lnTo>
                    <a:pt x="209" y="227"/>
                  </a:lnTo>
                  <a:lnTo>
                    <a:pt x="216" y="251"/>
                  </a:lnTo>
                  <a:lnTo>
                    <a:pt x="220" y="255"/>
                  </a:lnTo>
                  <a:lnTo>
                    <a:pt x="239" y="255"/>
                  </a:lnTo>
                  <a:lnTo>
                    <a:pt x="249" y="259"/>
                  </a:lnTo>
                  <a:lnTo>
                    <a:pt x="261" y="275"/>
                  </a:lnTo>
                  <a:lnTo>
                    <a:pt x="265" y="277"/>
                  </a:lnTo>
                  <a:lnTo>
                    <a:pt x="276" y="277"/>
                  </a:lnTo>
                  <a:lnTo>
                    <a:pt x="279" y="276"/>
                  </a:lnTo>
                  <a:lnTo>
                    <a:pt x="305" y="240"/>
                  </a:lnTo>
                  <a:lnTo>
                    <a:pt x="336" y="205"/>
                  </a:lnTo>
                  <a:lnTo>
                    <a:pt x="337" y="198"/>
                  </a:lnTo>
                  <a:lnTo>
                    <a:pt x="340" y="196"/>
                  </a:lnTo>
                  <a:lnTo>
                    <a:pt x="345" y="195"/>
                  </a:lnTo>
                  <a:lnTo>
                    <a:pt x="349" y="190"/>
                  </a:lnTo>
                  <a:lnTo>
                    <a:pt x="360" y="183"/>
                  </a:lnTo>
                  <a:lnTo>
                    <a:pt x="366" y="180"/>
                  </a:lnTo>
                  <a:lnTo>
                    <a:pt x="370" y="177"/>
                  </a:lnTo>
                  <a:lnTo>
                    <a:pt x="381" y="177"/>
                  </a:lnTo>
                  <a:lnTo>
                    <a:pt x="384" y="178"/>
                  </a:lnTo>
                  <a:lnTo>
                    <a:pt x="388" y="175"/>
                  </a:lnTo>
                  <a:lnTo>
                    <a:pt x="391" y="159"/>
                  </a:lnTo>
                  <a:lnTo>
                    <a:pt x="394" y="160"/>
                  </a:lnTo>
                  <a:lnTo>
                    <a:pt x="408" y="154"/>
                  </a:lnTo>
                  <a:lnTo>
                    <a:pt x="409" y="157"/>
                  </a:lnTo>
                  <a:lnTo>
                    <a:pt x="411" y="163"/>
                  </a:lnTo>
                  <a:lnTo>
                    <a:pt x="413" y="165"/>
                  </a:lnTo>
                  <a:lnTo>
                    <a:pt x="415" y="163"/>
                  </a:lnTo>
                  <a:lnTo>
                    <a:pt x="420" y="162"/>
                  </a:lnTo>
                  <a:lnTo>
                    <a:pt x="429" y="167"/>
                  </a:lnTo>
                  <a:lnTo>
                    <a:pt x="430" y="171"/>
                  </a:lnTo>
                  <a:lnTo>
                    <a:pt x="436" y="171"/>
                  </a:lnTo>
                  <a:lnTo>
                    <a:pt x="442" y="167"/>
                  </a:lnTo>
                  <a:lnTo>
                    <a:pt x="445" y="167"/>
                  </a:lnTo>
                  <a:lnTo>
                    <a:pt x="448" y="171"/>
                  </a:lnTo>
                  <a:lnTo>
                    <a:pt x="449" y="181"/>
                  </a:lnTo>
                  <a:lnTo>
                    <a:pt x="454" y="197"/>
                  </a:lnTo>
                  <a:lnTo>
                    <a:pt x="459" y="198"/>
                  </a:lnTo>
                  <a:lnTo>
                    <a:pt x="471" y="199"/>
                  </a:lnTo>
                  <a:lnTo>
                    <a:pt x="477" y="204"/>
                  </a:lnTo>
                  <a:lnTo>
                    <a:pt x="484" y="217"/>
                  </a:lnTo>
                  <a:lnTo>
                    <a:pt x="483" y="223"/>
                  </a:lnTo>
                  <a:lnTo>
                    <a:pt x="478" y="233"/>
                  </a:lnTo>
                  <a:lnTo>
                    <a:pt x="478" y="243"/>
                  </a:lnTo>
                  <a:lnTo>
                    <a:pt x="481" y="246"/>
                  </a:lnTo>
                  <a:lnTo>
                    <a:pt x="503" y="247"/>
                  </a:lnTo>
                  <a:lnTo>
                    <a:pt x="513" y="251"/>
                  </a:lnTo>
                  <a:lnTo>
                    <a:pt x="513" y="257"/>
                  </a:lnTo>
                  <a:lnTo>
                    <a:pt x="517" y="257"/>
                  </a:lnTo>
                  <a:lnTo>
                    <a:pt x="531" y="257"/>
                  </a:lnTo>
                  <a:lnTo>
                    <a:pt x="533" y="264"/>
                  </a:lnTo>
                  <a:lnTo>
                    <a:pt x="538" y="265"/>
                  </a:lnTo>
                  <a:lnTo>
                    <a:pt x="538" y="270"/>
                  </a:lnTo>
                  <a:lnTo>
                    <a:pt x="534" y="271"/>
                  </a:lnTo>
                  <a:lnTo>
                    <a:pt x="533" y="277"/>
                  </a:lnTo>
                  <a:lnTo>
                    <a:pt x="618" y="271"/>
                  </a:lnTo>
                  <a:lnTo>
                    <a:pt x="613" y="157"/>
                  </a:lnTo>
                  <a:lnTo>
                    <a:pt x="611" y="157"/>
                  </a:lnTo>
                  <a:lnTo>
                    <a:pt x="607" y="129"/>
                  </a:lnTo>
                  <a:lnTo>
                    <a:pt x="573" y="129"/>
                  </a:lnTo>
                  <a:lnTo>
                    <a:pt x="539" y="111"/>
                  </a:lnTo>
                  <a:lnTo>
                    <a:pt x="528" y="109"/>
                  </a:lnTo>
                  <a:lnTo>
                    <a:pt x="520" y="105"/>
                  </a:lnTo>
                  <a:lnTo>
                    <a:pt x="504" y="102"/>
                  </a:lnTo>
                  <a:lnTo>
                    <a:pt x="496" y="105"/>
                  </a:lnTo>
                  <a:lnTo>
                    <a:pt x="489" y="115"/>
                  </a:lnTo>
                  <a:lnTo>
                    <a:pt x="490" y="137"/>
                  </a:lnTo>
                  <a:lnTo>
                    <a:pt x="479" y="139"/>
                  </a:lnTo>
                  <a:lnTo>
                    <a:pt x="480" y="145"/>
                  </a:lnTo>
                  <a:lnTo>
                    <a:pt x="473" y="144"/>
                  </a:lnTo>
                  <a:lnTo>
                    <a:pt x="431" y="144"/>
                  </a:lnTo>
                  <a:lnTo>
                    <a:pt x="429" y="142"/>
                  </a:lnTo>
                  <a:lnTo>
                    <a:pt x="427" y="138"/>
                  </a:lnTo>
                  <a:lnTo>
                    <a:pt x="414" y="129"/>
                  </a:lnTo>
                  <a:lnTo>
                    <a:pt x="411" y="123"/>
                  </a:lnTo>
                  <a:lnTo>
                    <a:pt x="408" y="121"/>
                  </a:lnTo>
                  <a:lnTo>
                    <a:pt x="403" y="123"/>
                  </a:lnTo>
                  <a:lnTo>
                    <a:pt x="397" y="121"/>
                  </a:lnTo>
                  <a:lnTo>
                    <a:pt x="396" y="117"/>
                  </a:lnTo>
                  <a:lnTo>
                    <a:pt x="393" y="115"/>
                  </a:lnTo>
                  <a:lnTo>
                    <a:pt x="387" y="115"/>
                  </a:lnTo>
                  <a:lnTo>
                    <a:pt x="381" y="114"/>
                  </a:lnTo>
                  <a:lnTo>
                    <a:pt x="378" y="103"/>
                  </a:lnTo>
                  <a:lnTo>
                    <a:pt x="371" y="103"/>
                  </a:lnTo>
                  <a:lnTo>
                    <a:pt x="370" y="89"/>
                  </a:lnTo>
                  <a:lnTo>
                    <a:pt x="369" y="69"/>
                  </a:lnTo>
                  <a:lnTo>
                    <a:pt x="367" y="37"/>
                  </a:lnTo>
                  <a:lnTo>
                    <a:pt x="336" y="30"/>
                  </a:lnTo>
                  <a:lnTo>
                    <a:pt x="315" y="0"/>
                  </a:lnTo>
                  <a:lnTo>
                    <a:pt x="315" y="1"/>
                  </a:lnTo>
                  <a:lnTo>
                    <a:pt x="312" y="1"/>
                  </a:lnTo>
                  <a:lnTo>
                    <a:pt x="292" y="10"/>
                  </a:lnTo>
                  <a:lnTo>
                    <a:pt x="280" y="12"/>
                  </a:lnTo>
                  <a:lnTo>
                    <a:pt x="274" y="10"/>
                  </a:lnTo>
                  <a:lnTo>
                    <a:pt x="274" y="11"/>
                  </a:lnTo>
                  <a:lnTo>
                    <a:pt x="269" y="15"/>
                  </a:lnTo>
                  <a:lnTo>
                    <a:pt x="270" y="17"/>
                  </a:lnTo>
                  <a:lnTo>
                    <a:pt x="268" y="19"/>
                  </a:lnTo>
                  <a:lnTo>
                    <a:pt x="268" y="23"/>
                  </a:lnTo>
                  <a:lnTo>
                    <a:pt x="255" y="34"/>
                  </a:lnTo>
                  <a:lnTo>
                    <a:pt x="239" y="42"/>
                  </a:lnTo>
                  <a:lnTo>
                    <a:pt x="226" y="48"/>
                  </a:lnTo>
                  <a:lnTo>
                    <a:pt x="216" y="51"/>
                  </a:lnTo>
                  <a:lnTo>
                    <a:pt x="197" y="49"/>
                  </a:lnTo>
                  <a:lnTo>
                    <a:pt x="196" y="51"/>
                  </a:lnTo>
                  <a:lnTo>
                    <a:pt x="195" y="51"/>
                  </a:lnTo>
                  <a:lnTo>
                    <a:pt x="195" y="49"/>
                  </a:lnTo>
                  <a:lnTo>
                    <a:pt x="189" y="49"/>
                  </a:lnTo>
                  <a:lnTo>
                    <a:pt x="187" y="51"/>
                  </a:lnTo>
                  <a:lnTo>
                    <a:pt x="184" y="49"/>
                  </a:lnTo>
                  <a:lnTo>
                    <a:pt x="160" y="51"/>
                  </a:lnTo>
                  <a:lnTo>
                    <a:pt x="135" y="51"/>
                  </a:lnTo>
                  <a:lnTo>
                    <a:pt x="135" y="52"/>
                  </a:lnTo>
                  <a:lnTo>
                    <a:pt x="133" y="51"/>
                  </a:lnTo>
                  <a:lnTo>
                    <a:pt x="120" y="53"/>
                  </a:lnTo>
                  <a:lnTo>
                    <a:pt x="96" y="61"/>
                  </a:lnTo>
                  <a:lnTo>
                    <a:pt x="70" y="75"/>
                  </a:lnTo>
                  <a:lnTo>
                    <a:pt x="65" y="76"/>
                  </a:lnTo>
                  <a:lnTo>
                    <a:pt x="51" y="83"/>
                  </a:lnTo>
                  <a:lnTo>
                    <a:pt x="49" y="84"/>
                  </a:lnTo>
                  <a:lnTo>
                    <a:pt x="48" y="83"/>
                  </a:lnTo>
                  <a:lnTo>
                    <a:pt x="3" y="103"/>
                  </a:lnTo>
                  <a:lnTo>
                    <a:pt x="1" y="103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2" name="Freeform 30"/>
            <p:cNvSpPr>
              <a:spLocks/>
            </p:cNvSpPr>
            <p:nvPr/>
          </p:nvSpPr>
          <p:spPr bwMode="auto">
            <a:xfrm>
              <a:off x="4806950" y="4183063"/>
              <a:ext cx="762000" cy="855662"/>
            </a:xfrm>
            <a:custGeom>
              <a:avLst/>
              <a:gdLst>
                <a:gd name="T0" fmla="*/ 25201563 w 960"/>
                <a:gd name="T1" fmla="*/ 81904633 h 1078"/>
                <a:gd name="T2" fmla="*/ 13231019 w 960"/>
                <a:gd name="T3" fmla="*/ 119077512 h 1078"/>
                <a:gd name="T4" fmla="*/ 18901569 w 960"/>
                <a:gd name="T5" fmla="*/ 145538740 h 1078"/>
                <a:gd name="T6" fmla="*/ 45362813 w 960"/>
                <a:gd name="T7" fmla="*/ 166330215 h 1078"/>
                <a:gd name="T8" fmla="*/ 54813200 w 960"/>
                <a:gd name="T9" fmla="*/ 188381371 h 1078"/>
                <a:gd name="T10" fmla="*/ 36542663 w 960"/>
                <a:gd name="T11" fmla="*/ 206652692 h 1078"/>
                <a:gd name="T12" fmla="*/ 10080625 w 960"/>
                <a:gd name="T13" fmla="*/ 223033301 h 1078"/>
                <a:gd name="T14" fmla="*/ 20791488 w 960"/>
                <a:gd name="T15" fmla="*/ 232484477 h 1078"/>
                <a:gd name="T16" fmla="*/ 24571325 w 960"/>
                <a:gd name="T17" fmla="*/ 272176716 h 1078"/>
                <a:gd name="T18" fmla="*/ 73084531 w 960"/>
                <a:gd name="T19" fmla="*/ 233744157 h 1078"/>
                <a:gd name="T20" fmla="*/ 93876019 w 960"/>
                <a:gd name="T21" fmla="*/ 225553456 h 1078"/>
                <a:gd name="T22" fmla="*/ 114667506 w 960"/>
                <a:gd name="T23" fmla="*/ 222403858 h 1078"/>
                <a:gd name="T24" fmla="*/ 134198519 w 960"/>
                <a:gd name="T25" fmla="*/ 252015478 h 1078"/>
                <a:gd name="T26" fmla="*/ 114667506 w 960"/>
                <a:gd name="T27" fmla="*/ 264616252 h 1078"/>
                <a:gd name="T28" fmla="*/ 124748131 w 960"/>
                <a:gd name="T29" fmla="*/ 316909265 h 1078"/>
                <a:gd name="T30" fmla="*/ 145538825 w 960"/>
                <a:gd name="T31" fmla="*/ 298008501 h 1078"/>
                <a:gd name="T32" fmla="*/ 175151256 w 960"/>
                <a:gd name="T33" fmla="*/ 313758873 h 1078"/>
                <a:gd name="T34" fmla="*/ 167590788 w 960"/>
                <a:gd name="T35" fmla="*/ 330140276 h 1078"/>
                <a:gd name="T36" fmla="*/ 146799300 w 960"/>
                <a:gd name="T37" fmla="*/ 372982907 h 1078"/>
                <a:gd name="T38" fmla="*/ 146169063 w 960"/>
                <a:gd name="T39" fmla="*/ 393144145 h 1078"/>
                <a:gd name="T40" fmla="*/ 154359769 w 960"/>
                <a:gd name="T41" fmla="*/ 409524754 h 1078"/>
                <a:gd name="T42" fmla="*/ 186491563 w 960"/>
                <a:gd name="T43" fmla="*/ 419605374 h 1078"/>
                <a:gd name="T44" fmla="*/ 156879925 w 960"/>
                <a:gd name="T45" fmla="*/ 436616220 h 1078"/>
                <a:gd name="T46" fmla="*/ 141758988 w 960"/>
                <a:gd name="T47" fmla="*/ 475679016 h 1078"/>
                <a:gd name="T48" fmla="*/ 151209375 w 960"/>
                <a:gd name="T49" fmla="*/ 497099935 h 1078"/>
                <a:gd name="T50" fmla="*/ 167590788 w 960"/>
                <a:gd name="T51" fmla="*/ 523561957 h 1078"/>
                <a:gd name="T52" fmla="*/ 192792350 w 960"/>
                <a:gd name="T53" fmla="*/ 516631729 h 1078"/>
                <a:gd name="T54" fmla="*/ 211693125 w 960"/>
                <a:gd name="T55" fmla="*/ 522931719 h 1078"/>
                <a:gd name="T56" fmla="*/ 225554381 w 960"/>
                <a:gd name="T57" fmla="*/ 487649553 h 1078"/>
                <a:gd name="T58" fmla="*/ 259576094 w 960"/>
                <a:gd name="T59" fmla="*/ 502140244 h 1078"/>
                <a:gd name="T60" fmla="*/ 275957506 w 960"/>
                <a:gd name="T61" fmla="*/ 531122421 h 1078"/>
                <a:gd name="T62" fmla="*/ 290448206 w 960"/>
                <a:gd name="T63" fmla="*/ 551283659 h 1078"/>
                <a:gd name="T64" fmla="*/ 335180781 w 960"/>
                <a:gd name="T65" fmla="*/ 574595289 h 1078"/>
                <a:gd name="T66" fmla="*/ 345891644 w 960"/>
                <a:gd name="T67" fmla="*/ 633818530 h 1078"/>
                <a:gd name="T68" fmla="*/ 403855238 w 960"/>
                <a:gd name="T69" fmla="*/ 608616982 h 1078"/>
                <a:gd name="T70" fmla="*/ 410155231 w 960"/>
                <a:gd name="T71" fmla="*/ 624998385 h 1078"/>
                <a:gd name="T72" fmla="*/ 443547500 w 960"/>
                <a:gd name="T73" fmla="*/ 660909995 h 1078"/>
                <a:gd name="T74" fmla="*/ 489540550 w 960"/>
                <a:gd name="T75" fmla="*/ 677921635 h 1078"/>
                <a:gd name="T76" fmla="*/ 598537506 w 960"/>
                <a:gd name="T77" fmla="*/ 667210779 h 1078"/>
                <a:gd name="T78" fmla="*/ 593497194 w 960"/>
                <a:gd name="T79" fmla="*/ 625627828 h 1078"/>
                <a:gd name="T80" fmla="*/ 570815788 w 960"/>
                <a:gd name="T81" fmla="*/ 602946435 h 1078"/>
                <a:gd name="T82" fmla="*/ 547504144 w 960"/>
                <a:gd name="T83" fmla="*/ 583415434 h 1078"/>
                <a:gd name="T84" fmla="*/ 544353750 w 960"/>
                <a:gd name="T85" fmla="*/ 533012339 h 1078"/>
                <a:gd name="T86" fmla="*/ 504031250 w 960"/>
                <a:gd name="T87" fmla="*/ 543092958 h 1078"/>
                <a:gd name="T88" fmla="*/ 481980081 w 960"/>
                <a:gd name="T89" fmla="*/ 534902256 h 1078"/>
                <a:gd name="T90" fmla="*/ 437876950 w 960"/>
                <a:gd name="T91" fmla="*/ 497099935 h 1078"/>
                <a:gd name="T92" fmla="*/ 422126569 w 960"/>
                <a:gd name="T93" fmla="*/ 480089088 h 1078"/>
                <a:gd name="T94" fmla="*/ 395034294 w 960"/>
                <a:gd name="T95" fmla="*/ 473789098 h 1078"/>
                <a:gd name="T96" fmla="*/ 337700938 w 960"/>
                <a:gd name="T97" fmla="*/ 463078242 h 1078"/>
                <a:gd name="T98" fmla="*/ 304938906 w 960"/>
                <a:gd name="T99" fmla="*/ 437246457 h 1078"/>
                <a:gd name="T100" fmla="*/ 288558288 w 960"/>
                <a:gd name="T101" fmla="*/ 409524754 h 1078"/>
                <a:gd name="T102" fmla="*/ 260206331 w 960"/>
                <a:gd name="T103" fmla="*/ 345890648 h 1078"/>
                <a:gd name="T104" fmla="*/ 209803206 w 960"/>
                <a:gd name="T105" fmla="*/ 262096097 h 1078"/>
                <a:gd name="T106" fmla="*/ 176410938 w 960"/>
                <a:gd name="T107" fmla="*/ 224293775 h 1078"/>
                <a:gd name="T108" fmla="*/ 161920238 w 960"/>
                <a:gd name="T109" fmla="*/ 110886810 h 1078"/>
                <a:gd name="T110" fmla="*/ 85685313 w 960"/>
                <a:gd name="T111" fmla="*/ 26461228 h 1078"/>
                <a:gd name="T112" fmla="*/ 54183756 w 960"/>
                <a:gd name="T113" fmla="*/ 0 h 1078"/>
                <a:gd name="T114" fmla="*/ 25831800 w 960"/>
                <a:gd name="T115" fmla="*/ 7560464 h 1078"/>
                <a:gd name="T116" fmla="*/ 10710863 w 960"/>
                <a:gd name="T117" fmla="*/ 39692239 h 10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60"/>
                <a:gd name="T178" fmla="*/ 0 h 1078"/>
                <a:gd name="T179" fmla="*/ 960 w 960"/>
                <a:gd name="T180" fmla="*/ 1078 h 10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60" h="1078">
                  <a:moveTo>
                    <a:pt x="0" y="96"/>
                  </a:moveTo>
                  <a:lnTo>
                    <a:pt x="28" y="101"/>
                  </a:lnTo>
                  <a:lnTo>
                    <a:pt x="35" y="105"/>
                  </a:lnTo>
                  <a:lnTo>
                    <a:pt x="36" y="107"/>
                  </a:lnTo>
                  <a:lnTo>
                    <a:pt x="34" y="111"/>
                  </a:lnTo>
                  <a:lnTo>
                    <a:pt x="34" y="122"/>
                  </a:lnTo>
                  <a:lnTo>
                    <a:pt x="35" y="125"/>
                  </a:lnTo>
                  <a:lnTo>
                    <a:pt x="40" y="130"/>
                  </a:lnTo>
                  <a:lnTo>
                    <a:pt x="40" y="140"/>
                  </a:lnTo>
                  <a:lnTo>
                    <a:pt x="39" y="146"/>
                  </a:lnTo>
                  <a:lnTo>
                    <a:pt x="30" y="150"/>
                  </a:lnTo>
                  <a:lnTo>
                    <a:pt x="21" y="160"/>
                  </a:lnTo>
                  <a:lnTo>
                    <a:pt x="15" y="174"/>
                  </a:lnTo>
                  <a:lnTo>
                    <a:pt x="17" y="178"/>
                  </a:lnTo>
                  <a:lnTo>
                    <a:pt x="18" y="184"/>
                  </a:lnTo>
                  <a:lnTo>
                    <a:pt x="21" y="189"/>
                  </a:lnTo>
                  <a:lnTo>
                    <a:pt x="29" y="195"/>
                  </a:lnTo>
                  <a:lnTo>
                    <a:pt x="30" y="201"/>
                  </a:lnTo>
                  <a:lnTo>
                    <a:pt x="28" y="206"/>
                  </a:lnTo>
                  <a:lnTo>
                    <a:pt x="24" y="208"/>
                  </a:lnTo>
                  <a:lnTo>
                    <a:pt x="29" y="209"/>
                  </a:lnTo>
                  <a:lnTo>
                    <a:pt x="35" y="214"/>
                  </a:lnTo>
                  <a:lnTo>
                    <a:pt x="36" y="219"/>
                  </a:lnTo>
                  <a:lnTo>
                    <a:pt x="30" y="231"/>
                  </a:lnTo>
                  <a:lnTo>
                    <a:pt x="29" y="236"/>
                  </a:lnTo>
                  <a:lnTo>
                    <a:pt x="32" y="242"/>
                  </a:lnTo>
                  <a:lnTo>
                    <a:pt x="51" y="263"/>
                  </a:lnTo>
                  <a:lnTo>
                    <a:pt x="63" y="258"/>
                  </a:lnTo>
                  <a:lnTo>
                    <a:pt x="66" y="255"/>
                  </a:lnTo>
                  <a:lnTo>
                    <a:pt x="70" y="255"/>
                  </a:lnTo>
                  <a:lnTo>
                    <a:pt x="75" y="256"/>
                  </a:lnTo>
                  <a:lnTo>
                    <a:pt x="72" y="264"/>
                  </a:lnTo>
                  <a:lnTo>
                    <a:pt x="72" y="269"/>
                  </a:lnTo>
                  <a:lnTo>
                    <a:pt x="80" y="270"/>
                  </a:lnTo>
                  <a:lnTo>
                    <a:pt x="84" y="270"/>
                  </a:lnTo>
                  <a:lnTo>
                    <a:pt x="86" y="272"/>
                  </a:lnTo>
                  <a:lnTo>
                    <a:pt x="87" y="275"/>
                  </a:lnTo>
                  <a:lnTo>
                    <a:pt x="94" y="279"/>
                  </a:lnTo>
                  <a:lnTo>
                    <a:pt x="94" y="287"/>
                  </a:lnTo>
                  <a:lnTo>
                    <a:pt x="87" y="299"/>
                  </a:lnTo>
                  <a:lnTo>
                    <a:pt x="81" y="308"/>
                  </a:lnTo>
                  <a:lnTo>
                    <a:pt x="80" y="318"/>
                  </a:lnTo>
                  <a:lnTo>
                    <a:pt x="81" y="335"/>
                  </a:lnTo>
                  <a:lnTo>
                    <a:pt x="77" y="338"/>
                  </a:lnTo>
                  <a:lnTo>
                    <a:pt x="72" y="336"/>
                  </a:lnTo>
                  <a:lnTo>
                    <a:pt x="68" y="334"/>
                  </a:lnTo>
                  <a:lnTo>
                    <a:pt x="63" y="330"/>
                  </a:lnTo>
                  <a:lnTo>
                    <a:pt x="58" y="328"/>
                  </a:lnTo>
                  <a:lnTo>
                    <a:pt x="56" y="327"/>
                  </a:lnTo>
                  <a:lnTo>
                    <a:pt x="52" y="326"/>
                  </a:lnTo>
                  <a:lnTo>
                    <a:pt x="46" y="328"/>
                  </a:lnTo>
                  <a:lnTo>
                    <a:pt x="45" y="329"/>
                  </a:lnTo>
                  <a:lnTo>
                    <a:pt x="38" y="347"/>
                  </a:lnTo>
                  <a:lnTo>
                    <a:pt x="34" y="350"/>
                  </a:lnTo>
                  <a:lnTo>
                    <a:pt x="23" y="350"/>
                  </a:lnTo>
                  <a:lnTo>
                    <a:pt x="16" y="354"/>
                  </a:lnTo>
                  <a:lnTo>
                    <a:pt x="14" y="358"/>
                  </a:lnTo>
                  <a:lnTo>
                    <a:pt x="14" y="360"/>
                  </a:lnTo>
                  <a:lnTo>
                    <a:pt x="17" y="362"/>
                  </a:lnTo>
                  <a:lnTo>
                    <a:pt x="23" y="363"/>
                  </a:lnTo>
                  <a:lnTo>
                    <a:pt x="28" y="360"/>
                  </a:lnTo>
                  <a:lnTo>
                    <a:pt x="38" y="357"/>
                  </a:lnTo>
                  <a:lnTo>
                    <a:pt x="39" y="362"/>
                  </a:lnTo>
                  <a:lnTo>
                    <a:pt x="33" y="369"/>
                  </a:lnTo>
                  <a:lnTo>
                    <a:pt x="23" y="380"/>
                  </a:lnTo>
                  <a:lnTo>
                    <a:pt x="24" y="383"/>
                  </a:lnTo>
                  <a:lnTo>
                    <a:pt x="20" y="390"/>
                  </a:lnTo>
                  <a:lnTo>
                    <a:pt x="23" y="435"/>
                  </a:lnTo>
                  <a:lnTo>
                    <a:pt x="28" y="436"/>
                  </a:lnTo>
                  <a:lnTo>
                    <a:pt x="32" y="435"/>
                  </a:lnTo>
                  <a:lnTo>
                    <a:pt x="36" y="434"/>
                  </a:lnTo>
                  <a:lnTo>
                    <a:pt x="39" y="432"/>
                  </a:lnTo>
                  <a:lnTo>
                    <a:pt x="52" y="426"/>
                  </a:lnTo>
                  <a:lnTo>
                    <a:pt x="62" y="419"/>
                  </a:lnTo>
                  <a:lnTo>
                    <a:pt x="77" y="402"/>
                  </a:lnTo>
                  <a:lnTo>
                    <a:pt x="99" y="383"/>
                  </a:lnTo>
                  <a:lnTo>
                    <a:pt x="102" y="376"/>
                  </a:lnTo>
                  <a:lnTo>
                    <a:pt x="110" y="372"/>
                  </a:lnTo>
                  <a:lnTo>
                    <a:pt x="112" y="372"/>
                  </a:lnTo>
                  <a:lnTo>
                    <a:pt x="116" y="371"/>
                  </a:lnTo>
                  <a:lnTo>
                    <a:pt x="123" y="378"/>
                  </a:lnTo>
                  <a:lnTo>
                    <a:pt x="130" y="392"/>
                  </a:lnTo>
                  <a:lnTo>
                    <a:pt x="135" y="387"/>
                  </a:lnTo>
                  <a:lnTo>
                    <a:pt x="141" y="372"/>
                  </a:lnTo>
                  <a:lnTo>
                    <a:pt x="135" y="366"/>
                  </a:lnTo>
                  <a:lnTo>
                    <a:pt x="134" y="360"/>
                  </a:lnTo>
                  <a:lnTo>
                    <a:pt x="136" y="359"/>
                  </a:lnTo>
                  <a:lnTo>
                    <a:pt x="149" y="358"/>
                  </a:lnTo>
                  <a:lnTo>
                    <a:pt x="153" y="354"/>
                  </a:lnTo>
                  <a:lnTo>
                    <a:pt x="152" y="344"/>
                  </a:lnTo>
                  <a:lnTo>
                    <a:pt x="154" y="345"/>
                  </a:lnTo>
                  <a:lnTo>
                    <a:pt x="159" y="344"/>
                  </a:lnTo>
                  <a:lnTo>
                    <a:pt x="170" y="344"/>
                  </a:lnTo>
                  <a:lnTo>
                    <a:pt x="172" y="341"/>
                  </a:lnTo>
                  <a:lnTo>
                    <a:pt x="177" y="340"/>
                  </a:lnTo>
                  <a:lnTo>
                    <a:pt x="182" y="353"/>
                  </a:lnTo>
                  <a:lnTo>
                    <a:pt x="178" y="372"/>
                  </a:lnTo>
                  <a:lnTo>
                    <a:pt x="180" y="377"/>
                  </a:lnTo>
                  <a:lnTo>
                    <a:pt x="185" y="381"/>
                  </a:lnTo>
                  <a:lnTo>
                    <a:pt x="189" y="388"/>
                  </a:lnTo>
                  <a:lnTo>
                    <a:pt x="194" y="389"/>
                  </a:lnTo>
                  <a:lnTo>
                    <a:pt x="198" y="389"/>
                  </a:lnTo>
                  <a:lnTo>
                    <a:pt x="203" y="393"/>
                  </a:lnTo>
                  <a:lnTo>
                    <a:pt x="213" y="400"/>
                  </a:lnTo>
                  <a:lnTo>
                    <a:pt x="213" y="411"/>
                  </a:lnTo>
                  <a:lnTo>
                    <a:pt x="208" y="414"/>
                  </a:lnTo>
                  <a:lnTo>
                    <a:pt x="198" y="419"/>
                  </a:lnTo>
                  <a:lnTo>
                    <a:pt x="192" y="425"/>
                  </a:lnTo>
                  <a:lnTo>
                    <a:pt x="189" y="424"/>
                  </a:lnTo>
                  <a:lnTo>
                    <a:pt x="188" y="419"/>
                  </a:lnTo>
                  <a:lnTo>
                    <a:pt x="184" y="419"/>
                  </a:lnTo>
                  <a:lnTo>
                    <a:pt x="182" y="420"/>
                  </a:lnTo>
                  <a:lnTo>
                    <a:pt x="173" y="426"/>
                  </a:lnTo>
                  <a:lnTo>
                    <a:pt x="170" y="478"/>
                  </a:lnTo>
                  <a:lnTo>
                    <a:pt x="178" y="484"/>
                  </a:lnTo>
                  <a:lnTo>
                    <a:pt x="182" y="488"/>
                  </a:lnTo>
                  <a:lnTo>
                    <a:pt x="184" y="489"/>
                  </a:lnTo>
                  <a:lnTo>
                    <a:pt x="194" y="489"/>
                  </a:lnTo>
                  <a:lnTo>
                    <a:pt x="194" y="495"/>
                  </a:lnTo>
                  <a:lnTo>
                    <a:pt x="198" y="503"/>
                  </a:lnTo>
                  <a:lnTo>
                    <a:pt x="201" y="503"/>
                  </a:lnTo>
                  <a:lnTo>
                    <a:pt x="204" y="502"/>
                  </a:lnTo>
                  <a:lnTo>
                    <a:pt x="208" y="500"/>
                  </a:lnTo>
                  <a:lnTo>
                    <a:pt x="213" y="494"/>
                  </a:lnTo>
                  <a:lnTo>
                    <a:pt x="220" y="490"/>
                  </a:lnTo>
                  <a:lnTo>
                    <a:pt x="222" y="485"/>
                  </a:lnTo>
                  <a:lnTo>
                    <a:pt x="225" y="477"/>
                  </a:lnTo>
                  <a:lnTo>
                    <a:pt x="231" y="473"/>
                  </a:lnTo>
                  <a:lnTo>
                    <a:pt x="232" y="476"/>
                  </a:lnTo>
                  <a:lnTo>
                    <a:pt x="234" y="476"/>
                  </a:lnTo>
                  <a:lnTo>
                    <a:pt x="237" y="474"/>
                  </a:lnTo>
                  <a:lnTo>
                    <a:pt x="240" y="476"/>
                  </a:lnTo>
                  <a:lnTo>
                    <a:pt x="244" y="477"/>
                  </a:lnTo>
                  <a:lnTo>
                    <a:pt x="248" y="483"/>
                  </a:lnTo>
                  <a:lnTo>
                    <a:pt x="250" y="485"/>
                  </a:lnTo>
                  <a:lnTo>
                    <a:pt x="278" y="498"/>
                  </a:lnTo>
                  <a:lnTo>
                    <a:pt x="282" y="498"/>
                  </a:lnTo>
                  <a:lnTo>
                    <a:pt x="286" y="498"/>
                  </a:lnTo>
                  <a:lnTo>
                    <a:pt x="284" y="507"/>
                  </a:lnTo>
                  <a:lnTo>
                    <a:pt x="281" y="507"/>
                  </a:lnTo>
                  <a:lnTo>
                    <a:pt x="279" y="509"/>
                  </a:lnTo>
                  <a:lnTo>
                    <a:pt x="275" y="515"/>
                  </a:lnTo>
                  <a:lnTo>
                    <a:pt x="272" y="516"/>
                  </a:lnTo>
                  <a:lnTo>
                    <a:pt x="266" y="524"/>
                  </a:lnTo>
                  <a:lnTo>
                    <a:pt x="264" y="528"/>
                  </a:lnTo>
                  <a:lnTo>
                    <a:pt x="261" y="530"/>
                  </a:lnTo>
                  <a:lnTo>
                    <a:pt x="256" y="534"/>
                  </a:lnTo>
                  <a:lnTo>
                    <a:pt x="256" y="539"/>
                  </a:lnTo>
                  <a:lnTo>
                    <a:pt x="249" y="552"/>
                  </a:lnTo>
                  <a:lnTo>
                    <a:pt x="245" y="569"/>
                  </a:lnTo>
                  <a:lnTo>
                    <a:pt x="242" y="578"/>
                  </a:lnTo>
                  <a:lnTo>
                    <a:pt x="233" y="592"/>
                  </a:lnTo>
                  <a:lnTo>
                    <a:pt x="234" y="597"/>
                  </a:lnTo>
                  <a:lnTo>
                    <a:pt x="232" y="599"/>
                  </a:lnTo>
                  <a:lnTo>
                    <a:pt x="228" y="602"/>
                  </a:lnTo>
                  <a:lnTo>
                    <a:pt x="224" y="609"/>
                  </a:lnTo>
                  <a:lnTo>
                    <a:pt x="222" y="614"/>
                  </a:lnTo>
                  <a:lnTo>
                    <a:pt x="224" y="616"/>
                  </a:lnTo>
                  <a:lnTo>
                    <a:pt x="227" y="618"/>
                  </a:lnTo>
                  <a:lnTo>
                    <a:pt x="232" y="624"/>
                  </a:lnTo>
                  <a:lnTo>
                    <a:pt x="232" y="628"/>
                  </a:lnTo>
                  <a:lnTo>
                    <a:pt x="227" y="635"/>
                  </a:lnTo>
                  <a:lnTo>
                    <a:pt x="227" y="638"/>
                  </a:lnTo>
                  <a:lnTo>
                    <a:pt x="228" y="640"/>
                  </a:lnTo>
                  <a:lnTo>
                    <a:pt x="231" y="642"/>
                  </a:lnTo>
                  <a:lnTo>
                    <a:pt x="240" y="648"/>
                  </a:lnTo>
                  <a:lnTo>
                    <a:pt x="244" y="648"/>
                  </a:lnTo>
                  <a:lnTo>
                    <a:pt x="245" y="650"/>
                  </a:lnTo>
                  <a:lnTo>
                    <a:pt x="250" y="653"/>
                  </a:lnTo>
                  <a:lnTo>
                    <a:pt x="258" y="656"/>
                  </a:lnTo>
                  <a:lnTo>
                    <a:pt x="262" y="654"/>
                  </a:lnTo>
                  <a:lnTo>
                    <a:pt x="269" y="660"/>
                  </a:lnTo>
                  <a:lnTo>
                    <a:pt x="279" y="660"/>
                  </a:lnTo>
                  <a:lnTo>
                    <a:pt x="287" y="662"/>
                  </a:lnTo>
                  <a:lnTo>
                    <a:pt x="294" y="664"/>
                  </a:lnTo>
                  <a:lnTo>
                    <a:pt x="296" y="666"/>
                  </a:lnTo>
                  <a:lnTo>
                    <a:pt x="298" y="668"/>
                  </a:lnTo>
                  <a:lnTo>
                    <a:pt x="296" y="676"/>
                  </a:lnTo>
                  <a:lnTo>
                    <a:pt x="291" y="682"/>
                  </a:lnTo>
                  <a:lnTo>
                    <a:pt x="284" y="686"/>
                  </a:lnTo>
                  <a:lnTo>
                    <a:pt x="267" y="689"/>
                  </a:lnTo>
                  <a:lnTo>
                    <a:pt x="262" y="688"/>
                  </a:lnTo>
                  <a:lnTo>
                    <a:pt x="257" y="692"/>
                  </a:lnTo>
                  <a:lnTo>
                    <a:pt x="249" y="693"/>
                  </a:lnTo>
                  <a:lnTo>
                    <a:pt x="246" y="690"/>
                  </a:lnTo>
                  <a:lnTo>
                    <a:pt x="244" y="693"/>
                  </a:lnTo>
                  <a:lnTo>
                    <a:pt x="243" y="698"/>
                  </a:lnTo>
                  <a:lnTo>
                    <a:pt x="240" y="735"/>
                  </a:lnTo>
                  <a:lnTo>
                    <a:pt x="237" y="741"/>
                  </a:lnTo>
                  <a:lnTo>
                    <a:pt x="234" y="742"/>
                  </a:lnTo>
                  <a:lnTo>
                    <a:pt x="228" y="747"/>
                  </a:lnTo>
                  <a:lnTo>
                    <a:pt x="225" y="755"/>
                  </a:lnTo>
                  <a:lnTo>
                    <a:pt x="221" y="756"/>
                  </a:lnTo>
                  <a:lnTo>
                    <a:pt x="220" y="760"/>
                  </a:lnTo>
                  <a:lnTo>
                    <a:pt x="218" y="762"/>
                  </a:lnTo>
                  <a:lnTo>
                    <a:pt x="219" y="778"/>
                  </a:lnTo>
                  <a:lnTo>
                    <a:pt x="225" y="784"/>
                  </a:lnTo>
                  <a:lnTo>
                    <a:pt x="230" y="785"/>
                  </a:lnTo>
                  <a:lnTo>
                    <a:pt x="238" y="786"/>
                  </a:lnTo>
                  <a:lnTo>
                    <a:pt x="240" y="789"/>
                  </a:lnTo>
                  <a:lnTo>
                    <a:pt x="246" y="789"/>
                  </a:lnTo>
                  <a:lnTo>
                    <a:pt x="254" y="791"/>
                  </a:lnTo>
                  <a:lnTo>
                    <a:pt x="258" y="796"/>
                  </a:lnTo>
                  <a:lnTo>
                    <a:pt x="258" y="798"/>
                  </a:lnTo>
                  <a:lnTo>
                    <a:pt x="258" y="806"/>
                  </a:lnTo>
                  <a:lnTo>
                    <a:pt x="258" y="812"/>
                  </a:lnTo>
                  <a:lnTo>
                    <a:pt x="262" y="816"/>
                  </a:lnTo>
                  <a:lnTo>
                    <a:pt x="266" y="831"/>
                  </a:lnTo>
                  <a:lnTo>
                    <a:pt x="278" y="832"/>
                  </a:lnTo>
                  <a:lnTo>
                    <a:pt x="280" y="828"/>
                  </a:lnTo>
                  <a:lnTo>
                    <a:pt x="281" y="828"/>
                  </a:lnTo>
                  <a:lnTo>
                    <a:pt x="284" y="826"/>
                  </a:lnTo>
                  <a:lnTo>
                    <a:pt x="286" y="827"/>
                  </a:lnTo>
                  <a:lnTo>
                    <a:pt x="291" y="827"/>
                  </a:lnTo>
                  <a:lnTo>
                    <a:pt x="299" y="825"/>
                  </a:lnTo>
                  <a:lnTo>
                    <a:pt x="306" y="820"/>
                  </a:lnTo>
                  <a:lnTo>
                    <a:pt x="314" y="819"/>
                  </a:lnTo>
                  <a:lnTo>
                    <a:pt x="317" y="824"/>
                  </a:lnTo>
                  <a:lnTo>
                    <a:pt x="321" y="834"/>
                  </a:lnTo>
                  <a:lnTo>
                    <a:pt x="323" y="837"/>
                  </a:lnTo>
                  <a:lnTo>
                    <a:pt x="328" y="840"/>
                  </a:lnTo>
                  <a:lnTo>
                    <a:pt x="332" y="839"/>
                  </a:lnTo>
                  <a:lnTo>
                    <a:pt x="333" y="834"/>
                  </a:lnTo>
                  <a:lnTo>
                    <a:pt x="336" y="830"/>
                  </a:lnTo>
                  <a:lnTo>
                    <a:pt x="342" y="826"/>
                  </a:lnTo>
                  <a:lnTo>
                    <a:pt x="346" y="826"/>
                  </a:lnTo>
                  <a:lnTo>
                    <a:pt x="348" y="824"/>
                  </a:lnTo>
                  <a:lnTo>
                    <a:pt x="351" y="816"/>
                  </a:lnTo>
                  <a:lnTo>
                    <a:pt x="362" y="800"/>
                  </a:lnTo>
                  <a:lnTo>
                    <a:pt x="362" y="792"/>
                  </a:lnTo>
                  <a:lnTo>
                    <a:pt x="359" y="786"/>
                  </a:lnTo>
                  <a:lnTo>
                    <a:pt x="358" y="774"/>
                  </a:lnTo>
                  <a:lnTo>
                    <a:pt x="365" y="774"/>
                  </a:lnTo>
                  <a:lnTo>
                    <a:pt x="369" y="776"/>
                  </a:lnTo>
                  <a:lnTo>
                    <a:pt x="378" y="783"/>
                  </a:lnTo>
                  <a:lnTo>
                    <a:pt x="382" y="783"/>
                  </a:lnTo>
                  <a:lnTo>
                    <a:pt x="394" y="788"/>
                  </a:lnTo>
                  <a:lnTo>
                    <a:pt x="400" y="792"/>
                  </a:lnTo>
                  <a:lnTo>
                    <a:pt x="408" y="796"/>
                  </a:lnTo>
                  <a:lnTo>
                    <a:pt x="412" y="797"/>
                  </a:lnTo>
                  <a:lnTo>
                    <a:pt x="425" y="803"/>
                  </a:lnTo>
                  <a:lnTo>
                    <a:pt x="428" y="807"/>
                  </a:lnTo>
                  <a:lnTo>
                    <a:pt x="432" y="819"/>
                  </a:lnTo>
                  <a:lnTo>
                    <a:pt x="432" y="821"/>
                  </a:lnTo>
                  <a:lnTo>
                    <a:pt x="435" y="822"/>
                  </a:lnTo>
                  <a:lnTo>
                    <a:pt x="436" y="828"/>
                  </a:lnTo>
                  <a:lnTo>
                    <a:pt x="436" y="840"/>
                  </a:lnTo>
                  <a:lnTo>
                    <a:pt x="438" y="843"/>
                  </a:lnTo>
                  <a:lnTo>
                    <a:pt x="442" y="846"/>
                  </a:lnTo>
                  <a:lnTo>
                    <a:pt x="454" y="852"/>
                  </a:lnTo>
                  <a:lnTo>
                    <a:pt x="455" y="855"/>
                  </a:lnTo>
                  <a:lnTo>
                    <a:pt x="455" y="862"/>
                  </a:lnTo>
                  <a:lnTo>
                    <a:pt x="454" y="863"/>
                  </a:lnTo>
                  <a:lnTo>
                    <a:pt x="454" y="866"/>
                  </a:lnTo>
                  <a:lnTo>
                    <a:pt x="458" y="867"/>
                  </a:lnTo>
                  <a:lnTo>
                    <a:pt x="461" y="875"/>
                  </a:lnTo>
                  <a:lnTo>
                    <a:pt x="467" y="876"/>
                  </a:lnTo>
                  <a:lnTo>
                    <a:pt x="478" y="874"/>
                  </a:lnTo>
                  <a:lnTo>
                    <a:pt x="489" y="876"/>
                  </a:lnTo>
                  <a:lnTo>
                    <a:pt x="504" y="874"/>
                  </a:lnTo>
                  <a:lnTo>
                    <a:pt x="512" y="874"/>
                  </a:lnTo>
                  <a:lnTo>
                    <a:pt x="521" y="885"/>
                  </a:lnTo>
                  <a:lnTo>
                    <a:pt x="528" y="899"/>
                  </a:lnTo>
                  <a:lnTo>
                    <a:pt x="532" y="912"/>
                  </a:lnTo>
                  <a:lnTo>
                    <a:pt x="531" y="928"/>
                  </a:lnTo>
                  <a:lnTo>
                    <a:pt x="525" y="939"/>
                  </a:lnTo>
                  <a:lnTo>
                    <a:pt x="513" y="952"/>
                  </a:lnTo>
                  <a:lnTo>
                    <a:pt x="513" y="956"/>
                  </a:lnTo>
                  <a:lnTo>
                    <a:pt x="521" y="989"/>
                  </a:lnTo>
                  <a:lnTo>
                    <a:pt x="528" y="1002"/>
                  </a:lnTo>
                  <a:lnTo>
                    <a:pt x="538" y="1006"/>
                  </a:lnTo>
                  <a:lnTo>
                    <a:pt x="549" y="1006"/>
                  </a:lnTo>
                  <a:lnTo>
                    <a:pt x="560" y="1010"/>
                  </a:lnTo>
                  <a:lnTo>
                    <a:pt x="574" y="1007"/>
                  </a:lnTo>
                  <a:lnTo>
                    <a:pt x="591" y="994"/>
                  </a:lnTo>
                  <a:lnTo>
                    <a:pt x="596" y="986"/>
                  </a:lnTo>
                  <a:lnTo>
                    <a:pt x="612" y="983"/>
                  </a:lnTo>
                  <a:lnTo>
                    <a:pt x="638" y="969"/>
                  </a:lnTo>
                  <a:lnTo>
                    <a:pt x="640" y="962"/>
                  </a:lnTo>
                  <a:lnTo>
                    <a:pt x="641" y="966"/>
                  </a:lnTo>
                  <a:lnTo>
                    <a:pt x="648" y="965"/>
                  </a:lnTo>
                  <a:lnTo>
                    <a:pt x="656" y="972"/>
                  </a:lnTo>
                  <a:lnTo>
                    <a:pt x="665" y="976"/>
                  </a:lnTo>
                  <a:lnTo>
                    <a:pt x="664" y="986"/>
                  </a:lnTo>
                  <a:lnTo>
                    <a:pt x="659" y="986"/>
                  </a:lnTo>
                  <a:lnTo>
                    <a:pt x="654" y="989"/>
                  </a:lnTo>
                  <a:lnTo>
                    <a:pt x="652" y="988"/>
                  </a:lnTo>
                  <a:lnTo>
                    <a:pt x="651" y="992"/>
                  </a:lnTo>
                  <a:lnTo>
                    <a:pt x="647" y="992"/>
                  </a:lnTo>
                  <a:lnTo>
                    <a:pt x="646" y="993"/>
                  </a:lnTo>
                  <a:lnTo>
                    <a:pt x="650" y="996"/>
                  </a:lnTo>
                  <a:lnTo>
                    <a:pt x="651" y="1001"/>
                  </a:lnTo>
                  <a:lnTo>
                    <a:pt x="656" y="1006"/>
                  </a:lnTo>
                  <a:lnTo>
                    <a:pt x="665" y="1022"/>
                  </a:lnTo>
                  <a:lnTo>
                    <a:pt x="677" y="1037"/>
                  </a:lnTo>
                  <a:lnTo>
                    <a:pt x="704" y="1049"/>
                  </a:lnTo>
                  <a:lnTo>
                    <a:pt x="706" y="1052"/>
                  </a:lnTo>
                  <a:lnTo>
                    <a:pt x="708" y="1053"/>
                  </a:lnTo>
                  <a:lnTo>
                    <a:pt x="713" y="1052"/>
                  </a:lnTo>
                  <a:lnTo>
                    <a:pt x="714" y="1073"/>
                  </a:lnTo>
                  <a:lnTo>
                    <a:pt x="732" y="1076"/>
                  </a:lnTo>
                  <a:lnTo>
                    <a:pt x="747" y="1074"/>
                  </a:lnTo>
                  <a:lnTo>
                    <a:pt x="759" y="1072"/>
                  </a:lnTo>
                  <a:lnTo>
                    <a:pt x="777" y="1076"/>
                  </a:lnTo>
                  <a:lnTo>
                    <a:pt x="788" y="1073"/>
                  </a:lnTo>
                  <a:lnTo>
                    <a:pt x="821" y="1076"/>
                  </a:lnTo>
                  <a:lnTo>
                    <a:pt x="875" y="1078"/>
                  </a:lnTo>
                  <a:lnTo>
                    <a:pt x="906" y="1077"/>
                  </a:lnTo>
                  <a:lnTo>
                    <a:pt x="918" y="1078"/>
                  </a:lnTo>
                  <a:lnTo>
                    <a:pt x="926" y="1071"/>
                  </a:lnTo>
                  <a:lnTo>
                    <a:pt x="942" y="1060"/>
                  </a:lnTo>
                  <a:lnTo>
                    <a:pt x="950" y="1059"/>
                  </a:lnTo>
                  <a:lnTo>
                    <a:pt x="947" y="1056"/>
                  </a:lnTo>
                  <a:lnTo>
                    <a:pt x="956" y="1050"/>
                  </a:lnTo>
                  <a:lnTo>
                    <a:pt x="960" y="1048"/>
                  </a:lnTo>
                  <a:lnTo>
                    <a:pt x="960" y="1040"/>
                  </a:lnTo>
                  <a:lnTo>
                    <a:pt x="958" y="1040"/>
                  </a:lnTo>
                  <a:lnTo>
                    <a:pt x="952" y="1031"/>
                  </a:lnTo>
                  <a:lnTo>
                    <a:pt x="948" y="996"/>
                  </a:lnTo>
                  <a:lnTo>
                    <a:pt x="942" y="993"/>
                  </a:lnTo>
                  <a:lnTo>
                    <a:pt x="939" y="989"/>
                  </a:lnTo>
                  <a:lnTo>
                    <a:pt x="935" y="978"/>
                  </a:lnTo>
                  <a:lnTo>
                    <a:pt x="933" y="977"/>
                  </a:lnTo>
                  <a:lnTo>
                    <a:pt x="928" y="968"/>
                  </a:lnTo>
                  <a:lnTo>
                    <a:pt x="922" y="965"/>
                  </a:lnTo>
                  <a:lnTo>
                    <a:pt x="918" y="962"/>
                  </a:lnTo>
                  <a:lnTo>
                    <a:pt x="914" y="963"/>
                  </a:lnTo>
                  <a:lnTo>
                    <a:pt x="906" y="957"/>
                  </a:lnTo>
                  <a:lnTo>
                    <a:pt x="899" y="947"/>
                  </a:lnTo>
                  <a:lnTo>
                    <a:pt x="892" y="945"/>
                  </a:lnTo>
                  <a:lnTo>
                    <a:pt x="885" y="928"/>
                  </a:lnTo>
                  <a:lnTo>
                    <a:pt x="881" y="928"/>
                  </a:lnTo>
                  <a:lnTo>
                    <a:pt x="876" y="932"/>
                  </a:lnTo>
                  <a:lnTo>
                    <a:pt x="876" y="929"/>
                  </a:lnTo>
                  <a:lnTo>
                    <a:pt x="873" y="928"/>
                  </a:lnTo>
                  <a:lnTo>
                    <a:pt x="869" y="926"/>
                  </a:lnTo>
                  <a:lnTo>
                    <a:pt x="868" y="904"/>
                  </a:lnTo>
                  <a:lnTo>
                    <a:pt x="873" y="896"/>
                  </a:lnTo>
                  <a:lnTo>
                    <a:pt x="870" y="894"/>
                  </a:lnTo>
                  <a:lnTo>
                    <a:pt x="867" y="890"/>
                  </a:lnTo>
                  <a:lnTo>
                    <a:pt x="867" y="882"/>
                  </a:lnTo>
                  <a:lnTo>
                    <a:pt x="863" y="875"/>
                  </a:lnTo>
                  <a:lnTo>
                    <a:pt x="863" y="870"/>
                  </a:lnTo>
                  <a:lnTo>
                    <a:pt x="864" y="846"/>
                  </a:lnTo>
                  <a:lnTo>
                    <a:pt x="860" y="852"/>
                  </a:lnTo>
                  <a:lnTo>
                    <a:pt x="856" y="852"/>
                  </a:lnTo>
                  <a:lnTo>
                    <a:pt x="848" y="856"/>
                  </a:lnTo>
                  <a:lnTo>
                    <a:pt x="832" y="858"/>
                  </a:lnTo>
                  <a:lnTo>
                    <a:pt x="819" y="860"/>
                  </a:lnTo>
                  <a:lnTo>
                    <a:pt x="815" y="861"/>
                  </a:lnTo>
                  <a:lnTo>
                    <a:pt x="802" y="861"/>
                  </a:lnTo>
                  <a:lnTo>
                    <a:pt x="800" y="862"/>
                  </a:lnTo>
                  <a:lnTo>
                    <a:pt x="801" y="864"/>
                  </a:lnTo>
                  <a:lnTo>
                    <a:pt x="798" y="868"/>
                  </a:lnTo>
                  <a:lnTo>
                    <a:pt x="795" y="867"/>
                  </a:lnTo>
                  <a:lnTo>
                    <a:pt x="796" y="863"/>
                  </a:lnTo>
                  <a:lnTo>
                    <a:pt x="795" y="861"/>
                  </a:lnTo>
                  <a:lnTo>
                    <a:pt x="780" y="862"/>
                  </a:lnTo>
                  <a:lnTo>
                    <a:pt x="773" y="858"/>
                  </a:lnTo>
                  <a:lnTo>
                    <a:pt x="765" y="849"/>
                  </a:lnTo>
                  <a:lnTo>
                    <a:pt x="747" y="833"/>
                  </a:lnTo>
                  <a:lnTo>
                    <a:pt x="746" y="831"/>
                  </a:lnTo>
                  <a:lnTo>
                    <a:pt x="740" y="824"/>
                  </a:lnTo>
                  <a:lnTo>
                    <a:pt x="731" y="816"/>
                  </a:lnTo>
                  <a:lnTo>
                    <a:pt x="719" y="798"/>
                  </a:lnTo>
                  <a:lnTo>
                    <a:pt x="713" y="792"/>
                  </a:lnTo>
                  <a:lnTo>
                    <a:pt x="705" y="789"/>
                  </a:lnTo>
                  <a:lnTo>
                    <a:pt x="695" y="789"/>
                  </a:lnTo>
                  <a:lnTo>
                    <a:pt x="693" y="790"/>
                  </a:lnTo>
                  <a:lnTo>
                    <a:pt x="694" y="788"/>
                  </a:lnTo>
                  <a:lnTo>
                    <a:pt x="682" y="783"/>
                  </a:lnTo>
                  <a:lnTo>
                    <a:pt x="676" y="776"/>
                  </a:lnTo>
                  <a:lnTo>
                    <a:pt x="674" y="770"/>
                  </a:lnTo>
                  <a:lnTo>
                    <a:pt x="671" y="767"/>
                  </a:lnTo>
                  <a:lnTo>
                    <a:pt x="671" y="765"/>
                  </a:lnTo>
                  <a:lnTo>
                    <a:pt x="670" y="762"/>
                  </a:lnTo>
                  <a:lnTo>
                    <a:pt x="668" y="762"/>
                  </a:lnTo>
                  <a:lnTo>
                    <a:pt x="665" y="764"/>
                  </a:lnTo>
                  <a:lnTo>
                    <a:pt x="654" y="753"/>
                  </a:lnTo>
                  <a:lnTo>
                    <a:pt x="648" y="753"/>
                  </a:lnTo>
                  <a:lnTo>
                    <a:pt x="642" y="754"/>
                  </a:lnTo>
                  <a:lnTo>
                    <a:pt x="635" y="754"/>
                  </a:lnTo>
                  <a:lnTo>
                    <a:pt x="629" y="752"/>
                  </a:lnTo>
                  <a:lnTo>
                    <a:pt x="627" y="752"/>
                  </a:lnTo>
                  <a:lnTo>
                    <a:pt x="621" y="755"/>
                  </a:lnTo>
                  <a:lnTo>
                    <a:pt x="621" y="752"/>
                  </a:lnTo>
                  <a:lnTo>
                    <a:pt x="615" y="753"/>
                  </a:lnTo>
                  <a:lnTo>
                    <a:pt x="610" y="753"/>
                  </a:lnTo>
                  <a:lnTo>
                    <a:pt x="604" y="753"/>
                  </a:lnTo>
                  <a:lnTo>
                    <a:pt x="585" y="752"/>
                  </a:lnTo>
                  <a:lnTo>
                    <a:pt x="561" y="746"/>
                  </a:lnTo>
                  <a:lnTo>
                    <a:pt x="536" y="735"/>
                  </a:lnTo>
                  <a:lnTo>
                    <a:pt x="533" y="734"/>
                  </a:lnTo>
                  <a:lnTo>
                    <a:pt x="518" y="730"/>
                  </a:lnTo>
                  <a:lnTo>
                    <a:pt x="513" y="726"/>
                  </a:lnTo>
                  <a:lnTo>
                    <a:pt x="508" y="713"/>
                  </a:lnTo>
                  <a:lnTo>
                    <a:pt x="497" y="710"/>
                  </a:lnTo>
                  <a:lnTo>
                    <a:pt x="492" y="707"/>
                  </a:lnTo>
                  <a:lnTo>
                    <a:pt x="486" y="699"/>
                  </a:lnTo>
                  <a:lnTo>
                    <a:pt x="484" y="694"/>
                  </a:lnTo>
                  <a:lnTo>
                    <a:pt x="485" y="689"/>
                  </a:lnTo>
                  <a:lnTo>
                    <a:pt x="486" y="683"/>
                  </a:lnTo>
                  <a:lnTo>
                    <a:pt x="479" y="675"/>
                  </a:lnTo>
                  <a:lnTo>
                    <a:pt x="478" y="671"/>
                  </a:lnTo>
                  <a:lnTo>
                    <a:pt x="474" y="666"/>
                  </a:lnTo>
                  <a:lnTo>
                    <a:pt x="468" y="664"/>
                  </a:lnTo>
                  <a:lnTo>
                    <a:pt x="465" y="657"/>
                  </a:lnTo>
                  <a:lnTo>
                    <a:pt x="458" y="650"/>
                  </a:lnTo>
                  <a:lnTo>
                    <a:pt x="442" y="639"/>
                  </a:lnTo>
                  <a:lnTo>
                    <a:pt x="425" y="623"/>
                  </a:lnTo>
                  <a:lnTo>
                    <a:pt x="420" y="608"/>
                  </a:lnTo>
                  <a:lnTo>
                    <a:pt x="423" y="600"/>
                  </a:lnTo>
                  <a:lnTo>
                    <a:pt x="425" y="578"/>
                  </a:lnTo>
                  <a:lnTo>
                    <a:pt x="420" y="567"/>
                  </a:lnTo>
                  <a:lnTo>
                    <a:pt x="417" y="556"/>
                  </a:lnTo>
                  <a:lnTo>
                    <a:pt x="413" y="549"/>
                  </a:lnTo>
                  <a:lnTo>
                    <a:pt x="408" y="544"/>
                  </a:lnTo>
                  <a:lnTo>
                    <a:pt x="410" y="542"/>
                  </a:lnTo>
                  <a:lnTo>
                    <a:pt x="405" y="536"/>
                  </a:lnTo>
                  <a:lnTo>
                    <a:pt x="395" y="516"/>
                  </a:lnTo>
                  <a:lnTo>
                    <a:pt x="395" y="513"/>
                  </a:lnTo>
                  <a:lnTo>
                    <a:pt x="389" y="509"/>
                  </a:lnTo>
                  <a:lnTo>
                    <a:pt x="383" y="496"/>
                  </a:lnTo>
                  <a:lnTo>
                    <a:pt x="333" y="416"/>
                  </a:lnTo>
                  <a:lnTo>
                    <a:pt x="328" y="414"/>
                  </a:lnTo>
                  <a:lnTo>
                    <a:pt x="321" y="411"/>
                  </a:lnTo>
                  <a:lnTo>
                    <a:pt x="287" y="375"/>
                  </a:lnTo>
                  <a:lnTo>
                    <a:pt x="285" y="375"/>
                  </a:lnTo>
                  <a:lnTo>
                    <a:pt x="284" y="364"/>
                  </a:lnTo>
                  <a:lnTo>
                    <a:pt x="281" y="362"/>
                  </a:lnTo>
                  <a:lnTo>
                    <a:pt x="276" y="358"/>
                  </a:lnTo>
                  <a:lnTo>
                    <a:pt x="280" y="356"/>
                  </a:lnTo>
                  <a:lnTo>
                    <a:pt x="274" y="346"/>
                  </a:lnTo>
                  <a:lnTo>
                    <a:pt x="250" y="275"/>
                  </a:lnTo>
                  <a:lnTo>
                    <a:pt x="245" y="238"/>
                  </a:lnTo>
                  <a:lnTo>
                    <a:pt x="249" y="225"/>
                  </a:lnTo>
                  <a:lnTo>
                    <a:pt x="249" y="220"/>
                  </a:lnTo>
                  <a:lnTo>
                    <a:pt x="257" y="194"/>
                  </a:lnTo>
                  <a:lnTo>
                    <a:pt x="260" y="179"/>
                  </a:lnTo>
                  <a:lnTo>
                    <a:pt x="257" y="176"/>
                  </a:lnTo>
                  <a:lnTo>
                    <a:pt x="254" y="173"/>
                  </a:lnTo>
                  <a:lnTo>
                    <a:pt x="239" y="161"/>
                  </a:lnTo>
                  <a:lnTo>
                    <a:pt x="225" y="152"/>
                  </a:lnTo>
                  <a:lnTo>
                    <a:pt x="215" y="142"/>
                  </a:lnTo>
                  <a:lnTo>
                    <a:pt x="198" y="119"/>
                  </a:lnTo>
                  <a:lnTo>
                    <a:pt x="156" y="46"/>
                  </a:lnTo>
                  <a:lnTo>
                    <a:pt x="146" y="48"/>
                  </a:lnTo>
                  <a:lnTo>
                    <a:pt x="136" y="42"/>
                  </a:lnTo>
                  <a:lnTo>
                    <a:pt x="120" y="28"/>
                  </a:lnTo>
                  <a:lnTo>
                    <a:pt x="113" y="20"/>
                  </a:lnTo>
                  <a:lnTo>
                    <a:pt x="108" y="17"/>
                  </a:lnTo>
                  <a:lnTo>
                    <a:pt x="102" y="8"/>
                  </a:lnTo>
                  <a:lnTo>
                    <a:pt x="99" y="5"/>
                  </a:lnTo>
                  <a:lnTo>
                    <a:pt x="92" y="4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78" y="8"/>
                  </a:lnTo>
                  <a:lnTo>
                    <a:pt x="76" y="14"/>
                  </a:lnTo>
                  <a:lnTo>
                    <a:pt x="66" y="12"/>
                  </a:lnTo>
                  <a:lnTo>
                    <a:pt x="62" y="10"/>
                  </a:lnTo>
                  <a:lnTo>
                    <a:pt x="52" y="11"/>
                  </a:lnTo>
                  <a:lnTo>
                    <a:pt x="47" y="12"/>
                  </a:lnTo>
                  <a:lnTo>
                    <a:pt x="47" y="10"/>
                  </a:lnTo>
                  <a:lnTo>
                    <a:pt x="41" y="12"/>
                  </a:lnTo>
                  <a:lnTo>
                    <a:pt x="42" y="10"/>
                  </a:lnTo>
                  <a:lnTo>
                    <a:pt x="30" y="10"/>
                  </a:lnTo>
                  <a:lnTo>
                    <a:pt x="28" y="11"/>
                  </a:lnTo>
                  <a:lnTo>
                    <a:pt x="26" y="11"/>
                  </a:lnTo>
                  <a:lnTo>
                    <a:pt x="14" y="32"/>
                  </a:lnTo>
                  <a:lnTo>
                    <a:pt x="32" y="44"/>
                  </a:lnTo>
                  <a:lnTo>
                    <a:pt x="33" y="51"/>
                  </a:lnTo>
                  <a:lnTo>
                    <a:pt x="17" y="63"/>
                  </a:lnTo>
                  <a:lnTo>
                    <a:pt x="20" y="76"/>
                  </a:lnTo>
                  <a:lnTo>
                    <a:pt x="14" y="94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3" name="Freeform 31"/>
            <p:cNvSpPr>
              <a:spLocks/>
            </p:cNvSpPr>
            <p:nvPr/>
          </p:nvSpPr>
          <p:spPr bwMode="auto">
            <a:xfrm>
              <a:off x="6040438" y="4246563"/>
              <a:ext cx="431800" cy="396875"/>
            </a:xfrm>
            <a:custGeom>
              <a:avLst/>
              <a:gdLst>
                <a:gd name="T0" fmla="*/ 2520156 w 544"/>
                <a:gd name="T1" fmla="*/ 98916331 h 500"/>
                <a:gd name="T2" fmla="*/ 17641094 w 544"/>
                <a:gd name="T3" fmla="*/ 86945788 h 500"/>
                <a:gd name="T4" fmla="*/ 32131794 w 544"/>
                <a:gd name="T5" fmla="*/ 75604688 h 500"/>
                <a:gd name="T6" fmla="*/ 39692263 w 544"/>
                <a:gd name="T7" fmla="*/ 73084531 h 500"/>
                <a:gd name="T8" fmla="*/ 47252731 w 544"/>
                <a:gd name="T9" fmla="*/ 69304694 h 500"/>
                <a:gd name="T10" fmla="*/ 63634144 w 544"/>
                <a:gd name="T11" fmla="*/ 59224069 h 500"/>
                <a:gd name="T12" fmla="*/ 83165156 w 544"/>
                <a:gd name="T13" fmla="*/ 54183756 h 500"/>
                <a:gd name="T14" fmla="*/ 95765938 w 544"/>
                <a:gd name="T15" fmla="*/ 51033363 h 500"/>
                <a:gd name="T16" fmla="*/ 120337263 w 544"/>
                <a:gd name="T17" fmla="*/ 47252731 h 500"/>
                <a:gd name="T18" fmla="*/ 130417888 w 544"/>
                <a:gd name="T19" fmla="*/ 45362813 h 500"/>
                <a:gd name="T20" fmla="*/ 150579138 w 544"/>
                <a:gd name="T21" fmla="*/ 41582975 h 500"/>
                <a:gd name="T22" fmla="*/ 165700075 w 544"/>
                <a:gd name="T23" fmla="*/ 36542663 h 500"/>
                <a:gd name="T24" fmla="*/ 178931094 w 544"/>
                <a:gd name="T25" fmla="*/ 34022506 h 500"/>
                <a:gd name="T26" fmla="*/ 187752038 w 544"/>
                <a:gd name="T27" fmla="*/ 28982194 h 500"/>
                <a:gd name="T28" fmla="*/ 194052031 w 544"/>
                <a:gd name="T29" fmla="*/ 27091481 h 500"/>
                <a:gd name="T30" fmla="*/ 204132656 w 544"/>
                <a:gd name="T31" fmla="*/ 16381413 h 500"/>
                <a:gd name="T32" fmla="*/ 207283050 w 544"/>
                <a:gd name="T33" fmla="*/ 13231019 h 500"/>
                <a:gd name="T34" fmla="*/ 216733438 w 544"/>
                <a:gd name="T35" fmla="*/ 12600781 h 500"/>
                <a:gd name="T36" fmla="*/ 224924144 w 544"/>
                <a:gd name="T37" fmla="*/ 9450388 h 500"/>
                <a:gd name="T38" fmla="*/ 231854375 w 544"/>
                <a:gd name="T39" fmla="*/ 8190706 h 500"/>
                <a:gd name="T40" fmla="*/ 236264450 w 544"/>
                <a:gd name="T41" fmla="*/ 8820944 h 500"/>
                <a:gd name="T42" fmla="*/ 243195475 w 544"/>
                <a:gd name="T43" fmla="*/ 9450388 h 500"/>
                <a:gd name="T44" fmla="*/ 246975313 w 544"/>
                <a:gd name="T45" fmla="*/ 9450388 h 500"/>
                <a:gd name="T46" fmla="*/ 248235788 w 544"/>
                <a:gd name="T47" fmla="*/ 8190706 h 500"/>
                <a:gd name="T48" fmla="*/ 259576094 w 544"/>
                <a:gd name="T49" fmla="*/ 0 h 500"/>
                <a:gd name="T50" fmla="*/ 271546638 w 544"/>
                <a:gd name="T51" fmla="*/ 630238 h 500"/>
                <a:gd name="T52" fmla="*/ 294858281 w 544"/>
                <a:gd name="T53" fmla="*/ 2520156 h 500"/>
                <a:gd name="T54" fmla="*/ 315019531 w 544"/>
                <a:gd name="T55" fmla="*/ 5670550 h 500"/>
                <a:gd name="T56" fmla="*/ 337700938 w 544"/>
                <a:gd name="T57" fmla="*/ 9450388 h 500"/>
                <a:gd name="T58" fmla="*/ 332030388 w 544"/>
                <a:gd name="T59" fmla="*/ 96396175 h 500"/>
                <a:gd name="T60" fmla="*/ 162550475 w 544"/>
                <a:gd name="T61" fmla="*/ 315019531 h 500"/>
                <a:gd name="T62" fmla="*/ 47252731 w 544"/>
                <a:gd name="T63" fmla="*/ 161290000 h 500"/>
                <a:gd name="T64" fmla="*/ 30241875 w 544"/>
                <a:gd name="T65" fmla="*/ 163810156 h 500"/>
                <a:gd name="T66" fmla="*/ 20161250 w 544"/>
                <a:gd name="T67" fmla="*/ 160030319 h 500"/>
                <a:gd name="T68" fmla="*/ 6300788 w 544"/>
                <a:gd name="T69" fmla="*/ 114667506 h 500"/>
                <a:gd name="T70" fmla="*/ 0 w 544"/>
                <a:gd name="T71" fmla="*/ 105846563 h 5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44"/>
                <a:gd name="T109" fmla="*/ 0 h 500"/>
                <a:gd name="T110" fmla="*/ 544 w 544"/>
                <a:gd name="T111" fmla="*/ 500 h 5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44" h="500">
                  <a:moveTo>
                    <a:pt x="0" y="168"/>
                  </a:moveTo>
                  <a:lnTo>
                    <a:pt x="4" y="157"/>
                  </a:lnTo>
                  <a:lnTo>
                    <a:pt x="9" y="151"/>
                  </a:lnTo>
                  <a:lnTo>
                    <a:pt x="28" y="138"/>
                  </a:lnTo>
                  <a:lnTo>
                    <a:pt x="36" y="132"/>
                  </a:lnTo>
                  <a:lnTo>
                    <a:pt x="51" y="120"/>
                  </a:lnTo>
                  <a:lnTo>
                    <a:pt x="58" y="118"/>
                  </a:lnTo>
                  <a:lnTo>
                    <a:pt x="63" y="116"/>
                  </a:lnTo>
                  <a:lnTo>
                    <a:pt x="66" y="115"/>
                  </a:lnTo>
                  <a:lnTo>
                    <a:pt x="75" y="110"/>
                  </a:lnTo>
                  <a:lnTo>
                    <a:pt x="84" y="103"/>
                  </a:lnTo>
                  <a:lnTo>
                    <a:pt x="101" y="94"/>
                  </a:lnTo>
                  <a:lnTo>
                    <a:pt x="110" y="92"/>
                  </a:lnTo>
                  <a:lnTo>
                    <a:pt x="132" y="86"/>
                  </a:lnTo>
                  <a:lnTo>
                    <a:pt x="138" y="86"/>
                  </a:lnTo>
                  <a:lnTo>
                    <a:pt x="152" y="81"/>
                  </a:lnTo>
                  <a:lnTo>
                    <a:pt x="173" y="78"/>
                  </a:lnTo>
                  <a:lnTo>
                    <a:pt x="191" y="75"/>
                  </a:lnTo>
                  <a:lnTo>
                    <a:pt x="196" y="74"/>
                  </a:lnTo>
                  <a:lnTo>
                    <a:pt x="207" y="72"/>
                  </a:lnTo>
                  <a:lnTo>
                    <a:pt x="213" y="69"/>
                  </a:lnTo>
                  <a:lnTo>
                    <a:pt x="239" y="66"/>
                  </a:lnTo>
                  <a:lnTo>
                    <a:pt x="251" y="61"/>
                  </a:lnTo>
                  <a:lnTo>
                    <a:pt x="263" y="58"/>
                  </a:lnTo>
                  <a:lnTo>
                    <a:pt x="274" y="56"/>
                  </a:lnTo>
                  <a:lnTo>
                    <a:pt x="284" y="54"/>
                  </a:lnTo>
                  <a:lnTo>
                    <a:pt x="287" y="50"/>
                  </a:lnTo>
                  <a:lnTo>
                    <a:pt x="298" y="46"/>
                  </a:lnTo>
                  <a:lnTo>
                    <a:pt x="302" y="46"/>
                  </a:lnTo>
                  <a:lnTo>
                    <a:pt x="308" y="43"/>
                  </a:lnTo>
                  <a:lnTo>
                    <a:pt x="322" y="30"/>
                  </a:lnTo>
                  <a:lnTo>
                    <a:pt x="324" y="26"/>
                  </a:lnTo>
                  <a:lnTo>
                    <a:pt x="327" y="24"/>
                  </a:lnTo>
                  <a:lnTo>
                    <a:pt x="329" y="21"/>
                  </a:lnTo>
                  <a:lnTo>
                    <a:pt x="336" y="20"/>
                  </a:lnTo>
                  <a:lnTo>
                    <a:pt x="344" y="20"/>
                  </a:lnTo>
                  <a:lnTo>
                    <a:pt x="352" y="16"/>
                  </a:lnTo>
                  <a:lnTo>
                    <a:pt x="357" y="15"/>
                  </a:lnTo>
                  <a:lnTo>
                    <a:pt x="364" y="15"/>
                  </a:lnTo>
                  <a:lnTo>
                    <a:pt x="368" y="13"/>
                  </a:lnTo>
                  <a:lnTo>
                    <a:pt x="372" y="13"/>
                  </a:lnTo>
                  <a:lnTo>
                    <a:pt x="375" y="14"/>
                  </a:lnTo>
                  <a:lnTo>
                    <a:pt x="386" y="16"/>
                  </a:lnTo>
                  <a:lnTo>
                    <a:pt x="386" y="15"/>
                  </a:lnTo>
                  <a:lnTo>
                    <a:pt x="390" y="14"/>
                  </a:lnTo>
                  <a:lnTo>
                    <a:pt x="392" y="15"/>
                  </a:lnTo>
                  <a:lnTo>
                    <a:pt x="395" y="14"/>
                  </a:lnTo>
                  <a:lnTo>
                    <a:pt x="394" y="13"/>
                  </a:lnTo>
                  <a:lnTo>
                    <a:pt x="406" y="3"/>
                  </a:lnTo>
                  <a:lnTo>
                    <a:pt x="412" y="0"/>
                  </a:lnTo>
                  <a:lnTo>
                    <a:pt x="417" y="0"/>
                  </a:lnTo>
                  <a:lnTo>
                    <a:pt x="431" y="1"/>
                  </a:lnTo>
                  <a:lnTo>
                    <a:pt x="444" y="0"/>
                  </a:lnTo>
                  <a:lnTo>
                    <a:pt x="468" y="4"/>
                  </a:lnTo>
                  <a:lnTo>
                    <a:pt x="478" y="8"/>
                  </a:lnTo>
                  <a:lnTo>
                    <a:pt x="500" y="9"/>
                  </a:lnTo>
                  <a:lnTo>
                    <a:pt x="530" y="15"/>
                  </a:lnTo>
                  <a:lnTo>
                    <a:pt x="536" y="15"/>
                  </a:lnTo>
                  <a:lnTo>
                    <a:pt x="544" y="88"/>
                  </a:lnTo>
                  <a:lnTo>
                    <a:pt x="527" y="153"/>
                  </a:lnTo>
                  <a:lnTo>
                    <a:pt x="472" y="223"/>
                  </a:lnTo>
                  <a:lnTo>
                    <a:pt x="258" y="500"/>
                  </a:lnTo>
                  <a:lnTo>
                    <a:pt x="105" y="295"/>
                  </a:lnTo>
                  <a:lnTo>
                    <a:pt x="75" y="256"/>
                  </a:lnTo>
                  <a:lnTo>
                    <a:pt x="68" y="266"/>
                  </a:lnTo>
                  <a:lnTo>
                    <a:pt x="48" y="260"/>
                  </a:lnTo>
                  <a:lnTo>
                    <a:pt x="42" y="256"/>
                  </a:lnTo>
                  <a:lnTo>
                    <a:pt x="32" y="254"/>
                  </a:lnTo>
                  <a:lnTo>
                    <a:pt x="14" y="255"/>
                  </a:lnTo>
                  <a:lnTo>
                    <a:pt x="10" y="182"/>
                  </a:lnTo>
                  <a:lnTo>
                    <a:pt x="5" y="181"/>
                  </a:lnTo>
                  <a:lnTo>
                    <a:pt x="0" y="168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4" name="Freeform 32"/>
            <p:cNvSpPr>
              <a:spLocks/>
            </p:cNvSpPr>
            <p:nvPr/>
          </p:nvSpPr>
          <p:spPr bwMode="auto">
            <a:xfrm>
              <a:off x="2198688" y="2392363"/>
              <a:ext cx="549275" cy="798512"/>
            </a:xfrm>
            <a:custGeom>
              <a:avLst/>
              <a:gdLst>
                <a:gd name="T0" fmla="*/ 113735695 w 691"/>
                <a:gd name="T1" fmla="*/ 1889918 h 1006"/>
                <a:gd name="T2" fmla="*/ 255272973 w 691"/>
                <a:gd name="T3" fmla="*/ 22051155 h 1006"/>
                <a:gd name="T4" fmla="*/ 227471391 w 691"/>
                <a:gd name="T5" fmla="*/ 68044176 h 1006"/>
                <a:gd name="T6" fmla="*/ 221152741 w 691"/>
                <a:gd name="T7" fmla="*/ 91985249 h 1006"/>
                <a:gd name="T8" fmla="*/ 220520797 w 691"/>
                <a:gd name="T9" fmla="*/ 105216259 h 1006"/>
                <a:gd name="T10" fmla="*/ 238212857 w 691"/>
                <a:gd name="T11" fmla="*/ 123487579 h 1006"/>
                <a:gd name="T12" fmla="*/ 240108690 w 691"/>
                <a:gd name="T13" fmla="*/ 143648816 h 1006"/>
                <a:gd name="T14" fmla="*/ 233158096 w 691"/>
                <a:gd name="T15" fmla="*/ 161920136 h 1006"/>
                <a:gd name="T16" fmla="*/ 228734485 w 691"/>
                <a:gd name="T17" fmla="*/ 210432518 h 1006"/>
                <a:gd name="T18" fmla="*/ 243267618 w 691"/>
                <a:gd name="T19" fmla="*/ 235634065 h 1006"/>
                <a:gd name="T20" fmla="*/ 248322379 w 691"/>
                <a:gd name="T21" fmla="*/ 313129416 h 1006"/>
                <a:gd name="T22" fmla="*/ 259695789 w 691"/>
                <a:gd name="T23" fmla="*/ 361641799 h 1006"/>
                <a:gd name="T24" fmla="*/ 274228922 w 691"/>
                <a:gd name="T25" fmla="*/ 395034046 h 1006"/>
                <a:gd name="T26" fmla="*/ 296343799 w 691"/>
                <a:gd name="T27" fmla="*/ 403854191 h 1006"/>
                <a:gd name="T28" fmla="*/ 344366014 w 691"/>
                <a:gd name="T29" fmla="*/ 471268924 h 1006"/>
                <a:gd name="T30" fmla="*/ 355739424 w 691"/>
                <a:gd name="T31" fmla="*/ 500250306 h 1006"/>
                <a:gd name="T32" fmla="*/ 368376724 w 691"/>
                <a:gd name="T33" fmla="*/ 506551089 h 1006"/>
                <a:gd name="T34" fmla="*/ 389859656 w 691"/>
                <a:gd name="T35" fmla="*/ 526712326 h 1006"/>
                <a:gd name="T36" fmla="*/ 412607272 w 691"/>
                <a:gd name="T37" fmla="*/ 575854946 h 1006"/>
                <a:gd name="T38" fmla="*/ 420821755 w 691"/>
                <a:gd name="T39" fmla="*/ 596646420 h 1006"/>
                <a:gd name="T40" fmla="*/ 429667388 w 691"/>
                <a:gd name="T41" fmla="*/ 626888276 h 1006"/>
                <a:gd name="T42" fmla="*/ 391123545 w 691"/>
                <a:gd name="T43" fmla="*/ 630668111 h 1006"/>
                <a:gd name="T44" fmla="*/ 278019794 w 691"/>
                <a:gd name="T45" fmla="*/ 613657266 h 1006"/>
                <a:gd name="T46" fmla="*/ 288762055 w 691"/>
                <a:gd name="T47" fmla="*/ 601056492 h 1006"/>
                <a:gd name="T48" fmla="*/ 283707294 w 691"/>
                <a:gd name="T49" fmla="*/ 582155729 h 1006"/>
                <a:gd name="T50" fmla="*/ 288762055 w 691"/>
                <a:gd name="T51" fmla="*/ 546873564 h 1006"/>
                <a:gd name="T52" fmla="*/ 272333089 w 691"/>
                <a:gd name="T53" fmla="*/ 523561935 h 1006"/>
                <a:gd name="T54" fmla="*/ 254641028 w 691"/>
                <a:gd name="T55" fmla="*/ 495209996 h 1006"/>
                <a:gd name="T56" fmla="*/ 240739840 w 691"/>
                <a:gd name="T57" fmla="*/ 481978986 h 1006"/>
                <a:gd name="T58" fmla="*/ 224311669 w 691"/>
                <a:gd name="T59" fmla="*/ 462447985 h 1006"/>
                <a:gd name="T60" fmla="*/ 200300959 w 691"/>
                <a:gd name="T61" fmla="*/ 432206129 h 1006"/>
                <a:gd name="T62" fmla="*/ 168707710 w 691"/>
                <a:gd name="T63" fmla="*/ 410785212 h 1006"/>
                <a:gd name="T64" fmla="*/ 147223983 w 691"/>
                <a:gd name="T65" fmla="*/ 392513892 h 1006"/>
                <a:gd name="T66" fmla="*/ 132059700 w 691"/>
                <a:gd name="T67" fmla="*/ 354081335 h 1006"/>
                <a:gd name="T68" fmla="*/ 122581328 w 691"/>
                <a:gd name="T69" fmla="*/ 301158086 h 1006"/>
                <a:gd name="T70" fmla="*/ 103625379 w 691"/>
                <a:gd name="T71" fmla="*/ 285407715 h 1006"/>
                <a:gd name="T72" fmla="*/ 105521212 w 691"/>
                <a:gd name="T73" fmla="*/ 248865075 h 1006"/>
                <a:gd name="T74" fmla="*/ 81510502 w 691"/>
                <a:gd name="T75" fmla="*/ 211692992 h 1006"/>
                <a:gd name="T76" fmla="*/ 78982724 w 691"/>
                <a:gd name="T77" fmla="*/ 180820899 h 1006"/>
                <a:gd name="T78" fmla="*/ 35384121 w 691"/>
                <a:gd name="T79" fmla="*/ 131678280 h 1006"/>
                <a:gd name="T80" fmla="*/ 45494437 w 691"/>
                <a:gd name="T81" fmla="*/ 110886806 h 1006"/>
                <a:gd name="T82" fmla="*/ 24642655 w 691"/>
                <a:gd name="T83" fmla="*/ 74974403 h 1006"/>
                <a:gd name="T84" fmla="*/ 27802377 w 691"/>
                <a:gd name="T85" fmla="*/ 40952712 h 1006"/>
                <a:gd name="T86" fmla="*/ 19587894 w 691"/>
                <a:gd name="T87" fmla="*/ 34021691 h 1006"/>
                <a:gd name="T88" fmla="*/ 12637299 w 691"/>
                <a:gd name="T89" fmla="*/ 13860454 h 100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91"/>
                <a:gd name="T136" fmla="*/ 0 h 1006"/>
                <a:gd name="T137" fmla="*/ 691 w 691"/>
                <a:gd name="T138" fmla="*/ 1006 h 100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91" h="1006">
                  <a:moveTo>
                    <a:pt x="20" y="22"/>
                  </a:moveTo>
                  <a:lnTo>
                    <a:pt x="0" y="0"/>
                  </a:lnTo>
                  <a:lnTo>
                    <a:pt x="180" y="3"/>
                  </a:lnTo>
                  <a:lnTo>
                    <a:pt x="417" y="8"/>
                  </a:lnTo>
                  <a:lnTo>
                    <a:pt x="423" y="8"/>
                  </a:lnTo>
                  <a:lnTo>
                    <a:pt x="404" y="35"/>
                  </a:lnTo>
                  <a:lnTo>
                    <a:pt x="380" y="59"/>
                  </a:lnTo>
                  <a:lnTo>
                    <a:pt x="362" y="84"/>
                  </a:lnTo>
                  <a:lnTo>
                    <a:pt x="360" y="108"/>
                  </a:lnTo>
                  <a:lnTo>
                    <a:pt x="355" y="105"/>
                  </a:lnTo>
                  <a:lnTo>
                    <a:pt x="349" y="108"/>
                  </a:lnTo>
                  <a:lnTo>
                    <a:pt x="350" y="146"/>
                  </a:lnTo>
                  <a:lnTo>
                    <a:pt x="348" y="153"/>
                  </a:lnTo>
                  <a:lnTo>
                    <a:pt x="341" y="153"/>
                  </a:lnTo>
                  <a:lnTo>
                    <a:pt x="349" y="167"/>
                  </a:lnTo>
                  <a:lnTo>
                    <a:pt x="356" y="170"/>
                  </a:lnTo>
                  <a:lnTo>
                    <a:pt x="373" y="190"/>
                  </a:lnTo>
                  <a:lnTo>
                    <a:pt x="377" y="196"/>
                  </a:lnTo>
                  <a:lnTo>
                    <a:pt x="377" y="208"/>
                  </a:lnTo>
                  <a:lnTo>
                    <a:pt x="381" y="218"/>
                  </a:lnTo>
                  <a:lnTo>
                    <a:pt x="380" y="228"/>
                  </a:lnTo>
                  <a:lnTo>
                    <a:pt x="375" y="233"/>
                  </a:lnTo>
                  <a:lnTo>
                    <a:pt x="369" y="242"/>
                  </a:lnTo>
                  <a:lnTo>
                    <a:pt x="369" y="257"/>
                  </a:lnTo>
                  <a:lnTo>
                    <a:pt x="366" y="269"/>
                  </a:lnTo>
                  <a:lnTo>
                    <a:pt x="360" y="317"/>
                  </a:lnTo>
                  <a:lnTo>
                    <a:pt x="362" y="334"/>
                  </a:lnTo>
                  <a:lnTo>
                    <a:pt x="368" y="344"/>
                  </a:lnTo>
                  <a:lnTo>
                    <a:pt x="368" y="360"/>
                  </a:lnTo>
                  <a:lnTo>
                    <a:pt x="385" y="374"/>
                  </a:lnTo>
                  <a:lnTo>
                    <a:pt x="389" y="444"/>
                  </a:lnTo>
                  <a:lnTo>
                    <a:pt x="393" y="471"/>
                  </a:lnTo>
                  <a:lnTo>
                    <a:pt x="393" y="497"/>
                  </a:lnTo>
                  <a:lnTo>
                    <a:pt x="387" y="534"/>
                  </a:lnTo>
                  <a:lnTo>
                    <a:pt x="397" y="557"/>
                  </a:lnTo>
                  <a:lnTo>
                    <a:pt x="411" y="574"/>
                  </a:lnTo>
                  <a:lnTo>
                    <a:pt x="427" y="590"/>
                  </a:lnTo>
                  <a:lnTo>
                    <a:pt x="426" y="615"/>
                  </a:lnTo>
                  <a:lnTo>
                    <a:pt x="434" y="627"/>
                  </a:lnTo>
                  <a:lnTo>
                    <a:pt x="445" y="615"/>
                  </a:lnTo>
                  <a:lnTo>
                    <a:pt x="456" y="623"/>
                  </a:lnTo>
                  <a:lnTo>
                    <a:pt x="469" y="641"/>
                  </a:lnTo>
                  <a:lnTo>
                    <a:pt x="517" y="695"/>
                  </a:lnTo>
                  <a:lnTo>
                    <a:pt x="533" y="714"/>
                  </a:lnTo>
                  <a:lnTo>
                    <a:pt x="545" y="748"/>
                  </a:lnTo>
                  <a:lnTo>
                    <a:pt x="557" y="760"/>
                  </a:lnTo>
                  <a:lnTo>
                    <a:pt x="560" y="778"/>
                  </a:lnTo>
                  <a:lnTo>
                    <a:pt x="563" y="794"/>
                  </a:lnTo>
                  <a:lnTo>
                    <a:pt x="570" y="814"/>
                  </a:lnTo>
                  <a:lnTo>
                    <a:pt x="575" y="801"/>
                  </a:lnTo>
                  <a:lnTo>
                    <a:pt x="583" y="804"/>
                  </a:lnTo>
                  <a:lnTo>
                    <a:pt x="591" y="838"/>
                  </a:lnTo>
                  <a:lnTo>
                    <a:pt x="603" y="830"/>
                  </a:lnTo>
                  <a:lnTo>
                    <a:pt x="617" y="836"/>
                  </a:lnTo>
                  <a:lnTo>
                    <a:pt x="629" y="875"/>
                  </a:lnTo>
                  <a:lnTo>
                    <a:pt x="633" y="904"/>
                  </a:lnTo>
                  <a:lnTo>
                    <a:pt x="653" y="914"/>
                  </a:lnTo>
                  <a:lnTo>
                    <a:pt x="668" y="911"/>
                  </a:lnTo>
                  <a:lnTo>
                    <a:pt x="672" y="921"/>
                  </a:lnTo>
                  <a:lnTo>
                    <a:pt x="666" y="947"/>
                  </a:lnTo>
                  <a:lnTo>
                    <a:pt x="674" y="960"/>
                  </a:lnTo>
                  <a:lnTo>
                    <a:pt x="679" y="971"/>
                  </a:lnTo>
                  <a:lnTo>
                    <a:pt x="680" y="995"/>
                  </a:lnTo>
                  <a:lnTo>
                    <a:pt x="691" y="1006"/>
                  </a:lnTo>
                  <a:lnTo>
                    <a:pt x="674" y="1005"/>
                  </a:lnTo>
                  <a:lnTo>
                    <a:pt x="619" y="1001"/>
                  </a:lnTo>
                  <a:lnTo>
                    <a:pt x="485" y="990"/>
                  </a:lnTo>
                  <a:lnTo>
                    <a:pt x="438" y="981"/>
                  </a:lnTo>
                  <a:lnTo>
                    <a:pt x="440" y="974"/>
                  </a:lnTo>
                  <a:lnTo>
                    <a:pt x="446" y="975"/>
                  </a:lnTo>
                  <a:lnTo>
                    <a:pt x="453" y="964"/>
                  </a:lnTo>
                  <a:lnTo>
                    <a:pt x="457" y="954"/>
                  </a:lnTo>
                  <a:lnTo>
                    <a:pt x="453" y="940"/>
                  </a:lnTo>
                  <a:lnTo>
                    <a:pt x="441" y="932"/>
                  </a:lnTo>
                  <a:lnTo>
                    <a:pt x="449" y="924"/>
                  </a:lnTo>
                  <a:lnTo>
                    <a:pt x="461" y="905"/>
                  </a:lnTo>
                  <a:lnTo>
                    <a:pt x="467" y="892"/>
                  </a:lnTo>
                  <a:lnTo>
                    <a:pt x="457" y="868"/>
                  </a:lnTo>
                  <a:lnTo>
                    <a:pt x="456" y="851"/>
                  </a:lnTo>
                  <a:lnTo>
                    <a:pt x="441" y="849"/>
                  </a:lnTo>
                  <a:lnTo>
                    <a:pt x="431" y="831"/>
                  </a:lnTo>
                  <a:lnTo>
                    <a:pt x="422" y="816"/>
                  </a:lnTo>
                  <a:lnTo>
                    <a:pt x="415" y="800"/>
                  </a:lnTo>
                  <a:lnTo>
                    <a:pt x="403" y="786"/>
                  </a:lnTo>
                  <a:lnTo>
                    <a:pt x="389" y="790"/>
                  </a:lnTo>
                  <a:lnTo>
                    <a:pt x="385" y="780"/>
                  </a:lnTo>
                  <a:lnTo>
                    <a:pt x="381" y="765"/>
                  </a:lnTo>
                  <a:lnTo>
                    <a:pt x="372" y="753"/>
                  </a:lnTo>
                  <a:lnTo>
                    <a:pt x="366" y="741"/>
                  </a:lnTo>
                  <a:lnTo>
                    <a:pt x="355" y="734"/>
                  </a:lnTo>
                  <a:lnTo>
                    <a:pt x="342" y="713"/>
                  </a:lnTo>
                  <a:lnTo>
                    <a:pt x="331" y="699"/>
                  </a:lnTo>
                  <a:lnTo>
                    <a:pt x="317" y="686"/>
                  </a:lnTo>
                  <a:lnTo>
                    <a:pt x="289" y="675"/>
                  </a:lnTo>
                  <a:lnTo>
                    <a:pt x="282" y="660"/>
                  </a:lnTo>
                  <a:lnTo>
                    <a:pt x="267" y="652"/>
                  </a:lnTo>
                  <a:lnTo>
                    <a:pt x="255" y="638"/>
                  </a:lnTo>
                  <a:lnTo>
                    <a:pt x="239" y="632"/>
                  </a:lnTo>
                  <a:lnTo>
                    <a:pt x="233" y="623"/>
                  </a:lnTo>
                  <a:lnTo>
                    <a:pt x="218" y="614"/>
                  </a:lnTo>
                  <a:lnTo>
                    <a:pt x="206" y="599"/>
                  </a:lnTo>
                  <a:lnTo>
                    <a:pt x="209" y="562"/>
                  </a:lnTo>
                  <a:lnTo>
                    <a:pt x="197" y="554"/>
                  </a:lnTo>
                  <a:lnTo>
                    <a:pt x="199" y="512"/>
                  </a:lnTo>
                  <a:lnTo>
                    <a:pt x="194" y="478"/>
                  </a:lnTo>
                  <a:lnTo>
                    <a:pt x="177" y="453"/>
                  </a:lnTo>
                  <a:lnTo>
                    <a:pt x="164" y="456"/>
                  </a:lnTo>
                  <a:lnTo>
                    <a:pt x="164" y="453"/>
                  </a:lnTo>
                  <a:lnTo>
                    <a:pt x="158" y="443"/>
                  </a:lnTo>
                  <a:lnTo>
                    <a:pt x="165" y="416"/>
                  </a:lnTo>
                  <a:lnTo>
                    <a:pt x="167" y="395"/>
                  </a:lnTo>
                  <a:lnTo>
                    <a:pt x="150" y="364"/>
                  </a:lnTo>
                  <a:lnTo>
                    <a:pt x="140" y="351"/>
                  </a:lnTo>
                  <a:lnTo>
                    <a:pt x="129" y="336"/>
                  </a:lnTo>
                  <a:lnTo>
                    <a:pt x="120" y="333"/>
                  </a:lnTo>
                  <a:lnTo>
                    <a:pt x="122" y="309"/>
                  </a:lnTo>
                  <a:lnTo>
                    <a:pt x="125" y="287"/>
                  </a:lnTo>
                  <a:lnTo>
                    <a:pt x="114" y="273"/>
                  </a:lnTo>
                  <a:lnTo>
                    <a:pt x="84" y="233"/>
                  </a:lnTo>
                  <a:lnTo>
                    <a:pt x="56" y="209"/>
                  </a:lnTo>
                  <a:lnTo>
                    <a:pt x="63" y="185"/>
                  </a:lnTo>
                  <a:lnTo>
                    <a:pt x="53" y="167"/>
                  </a:lnTo>
                  <a:lnTo>
                    <a:pt x="72" y="176"/>
                  </a:lnTo>
                  <a:lnTo>
                    <a:pt x="74" y="159"/>
                  </a:lnTo>
                  <a:lnTo>
                    <a:pt x="66" y="147"/>
                  </a:lnTo>
                  <a:lnTo>
                    <a:pt x="39" y="119"/>
                  </a:lnTo>
                  <a:lnTo>
                    <a:pt x="35" y="94"/>
                  </a:lnTo>
                  <a:lnTo>
                    <a:pt x="44" y="77"/>
                  </a:lnTo>
                  <a:lnTo>
                    <a:pt x="44" y="65"/>
                  </a:lnTo>
                  <a:lnTo>
                    <a:pt x="42" y="59"/>
                  </a:lnTo>
                  <a:lnTo>
                    <a:pt x="38" y="57"/>
                  </a:lnTo>
                  <a:lnTo>
                    <a:pt x="31" y="54"/>
                  </a:lnTo>
                  <a:lnTo>
                    <a:pt x="29" y="52"/>
                  </a:lnTo>
                  <a:lnTo>
                    <a:pt x="21" y="33"/>
                  </a:lnTo>
                  <a:lnTo>
                    <a:pt x="20" y="22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5" name="Freeform 33"/>
            <p:cNvSpPr>
              <a:spLocks/>
            </p:cNvSpPr>
            <p:nvPr/>
          </p:nvSpPr>
          <p:spPr bwMode="auto">
            <a:xfrm>
              <a:off x="2408238" y="3159125"/>
              <a:ext cx="755650" cy="901700"/>
            </a:xfrm>
            <a:custGeom>
              <a:avLst/>
              <a:gdLst>
                <a:gd name="T0" fmla="*/ 14552228 w 950"/>
                <a:gd name="T1" fmla="*/ 16980827 h 1137"/>
                <a:gd name="T2" fmla="*/ 31634691 w 950"/>
                <a:gd name="T3" fmla="*/ 12578596 h 1137"/>
                <a:gd name="T4" fmla="*/ 80984999 w 950"/>
                <a:gd name="T5" fmla="*/ 13207486 h 1137"/>
                <a:gd name="T6" fmla="*/ 99966132 w 950"/>
                <a:gd name="T7" fmla="*/ 0 h 1137"/>
                <a:gd name="T8" fmla="*/ 139825476 w 950"/>
                <a:gd name="T9" fmla="*/ 15094157 h 1137"/>
                <a:gd name="T10" fmla="*/ 270160783 w 950"/>
                <a:gd name="T11" fmla="*/ 25157192 h 1137"/>
                <a:gd name="T12" fmla="*/ 301795474 w 950"/>
                <a:gd name="T13" fmla="*/ 93710977 h 1137"/>
                <a:gd name="T14" fmla="*/ 313183517 w 950"/>
                <a:gd name="T15" fmla="*/ 122012620 h 1137"/>
                <a:gd name="T16" fmla="*/ 334695680 w 950"/>
                <a:gd name="T17" fmla="*/ 158490627 h 1137"/>
                <a:gd name="T18" fmla="*/ 351145782 w 950"/>
                <a:gd name="T19" fmla="*/ 171698114 h 1137"/>
                <a:gd name="T20" fmla="*/ 387209378 w 950"/>
                <a:gd name="T21" fmla="*/ 232075533 h 1137"/>
                <a:gd name="T22" fmla="*/ 391005127 w 950"/>
                <a:gd name="T23" fmla="*/ 247798580 h 1137"/>
                <a:gd name="T24" fmla="*/ 400496091 w 950"/>
                <a:gd name="T25" fmla="*/ 275472126 h 1137"/>
                <a:gd name="T26" fmla="*/ 403026325 w 950"/>
                <a:gd name="T27" fmla="*/ 315723474 h 1137"/>
                <a:gd name="T28" fmla="*/ 430865267 w 950"/>
                <a:gd name="T29" fmla="*/ 365408968 h 1137"/>
                <a:gd name="T30" fmla="*/ 433395501 w 950"/>
                <a:gd name="T31" fmla="*/ 405660317 h 1137"/>
                <a:gd name="T32" fmla="*/ 463765472 w 950"/>
                <a:gd name="T33" fmla="*/ 452830251 h 1137"/>
                <a:gd name="T34" fmla="*/ 453642148 w 950"/>
                <a:gd name="T35" fmla="*/ 500629074 h 1137"/>
                <a:gd name="T36" fmla="*/ 466295707 w 950"/>
                <a:gd name="T37" fmla="*/ 533962631 h 1137"/>
                <a:gd name="T38" fmla="*/ 504257972 w 950"/>
                <a:gd name="T39" fmla="*/ 528302620 h 1137"/>
                <a:gd name="T40" fmla="*/ 519442560 w 950"/>
                <a:gd name="T41" fmla="*/ 524528486 h 1137"/>
                <a:gd name="T42" fmla="*/ 540953927 w 950"/>
                <a:gd name="T43" fmla="*/ 545912337 h 1137"/>
                <a:gd name="T44" fmla="*/ 565628683 w 950"/>
                <a:gd name="T45" fmla="*/ 588680039 h 1137"/>
                <a:gd name="T46" fmla="*/ 570690743 w 950"/>
                <a:gd name="T47" fmla="*/ 603145306 h 1137"/>
                <a:gd name="T48" fmla="*/ 580814066 w 950"/>
                <a:gd name="T49" fmla="*/ 624529157 h 1137"/>
                <a:gd name="T50" fmla="*/ 599162044 w 950"/>
                <a:gd name="T51" fmla="*/ 635220290 h 1137"/>
                <a:gd name="T52" fmla="*/ 600427559 w 950"/>
                <a:gd name="T53" fmla="*/ 663522726 h 1137"/>
                <a:gd name="T54" fmla="*/ 580814066 w 950"/>
                <a:gd name="T55" fmla="*/ 693082149 h 1137"/>
                <a:gd name="T56" fmla="*/ 543484956 w 950"/>
                <a:gd name="T57" fmla="*/ 711321549 h 1137"/>
                <a:gd name="T58" fmla="*/ 527034854 w 950"/>
                <a:gd name="T59" fmla="*/ 711321549 h 1137"/>
                <a:gd name="T60" fmla="*/ 511850266 w 950"/>
                <a:gd name="T61" fmla="*/ 677987992 h 1137"/>
                <a:gd name="T62" fmla="*/ 512482625 w 950"/>
                <a:gd name="T63" fmla="*/ 666038286 h 1137"/>
                <a:gd name="T64" fmla="*/ 497298038 w 950"/>
                <a:gd name="T65" fmla="*/ 633962509 h 1137"/>
                <a:gd name="T66" fmla="*/ 463132317 w 950"/>
                <a:gd name="T67" fmla="*/ 608805317 h 1137"/>
                <a:gd name="T68" fmla="*/ 432130782 w 950"/>
                <a:gd name="T69" fmla="*/ 565409518 h 1137"/>
                <a:gd name="T70" fmla="*/ 392270642 w 950"/>
                <a:gd name="T71" fmla="*/ 527673730 h 1137"/>
                <a:gd name="T72" fmla="*/ 322674481 w 950"/>
                <a:gd name="T73" fmla="*/ 488050478 h 1137"/>
                <a:gd name="T74" fmla="*/ 295468695 w 950"/>
                <a:gd name="T75" fmla="*/ 461635506 h 1137"/>
                <a:gd name="T76" fmla="*/ 288508761 w 950"/>
                <a:gd name="T77" fmla="*/ 433962753 h 1137"/>
                <a:gd name="T78" fmla="*/ 304958864 w 950"/>
                <a:gd name="T79" fmla="*/ 368553419 h 1137"/>
                <a:gd name="T80" fmla="*/ 305591223 w 950"/>
                <a:gd name="T81" fmla="*/ 345912581 h 1137"/>
                <a:gd name="T82" fmla="*/ 294203180 w 950"/>
                <a:gd name="T83" fmla="*/ 277358796 h 1137"/>
                <a:gd name="T84" fmla="*/ 265098724 w 950"/>
                <a:gd name="T85" fmla="*/ 251572714 h 1137"/>
                <a:gd name="T86" fmla="*/ 251812806 w 950"/>
                <a:gd name="T87" fmla="*/ 239623008 h 1137"/>
                <a:gd name="T88" fmla="*/ 231566159 w 950"/>
                <a:gd name="T89" fmla="*/ 231446643 h 1137"/>
                <a:gd name="T90" fmla="*/ 233464033 w 950"/>
                <a:gd name="T91" fmla="*/ 218868047 h 1137"/>
                <a:gd name="T92" fmla="*/ 213218181 w 950"/>
                <a:gd name="T93" fmla="*/ 202516110 h 1137"/>
                <a:gd name="T94" fmla="*/ 179685616 w 950"/>
                <a:gd name="T95" fmla="*/ 166038102 h 1137"/>
                <a:gd name="T96" fmla="*/ 141090991 w 950"/>
                <a:gd name="T97" fmla="*/ 169811443 h 1137"/>
                <a:gd name="T98" fmla="*/ 128436637 w 950"/>
                <a:gd name="T99" fmla="*/ 143396471 h 1137"/>
                <a:gd name="T100" fmla="*/ 85413903 w 950"/>
                <a:gd name="T101" fmla="*/ 109434023 h 1137"/>
                <a:gd name="T102" fmla="*/ 60105992 w 950"/>
                <a:gd name="T103" fmla="*/ 101257658 h 1137"/>
                <a:gd name="T104" fmla="*/ 52513698 w 950"/>
                <a:gd name="T105" fmla="*/ 67296004 h 1137"/>
                <a:gd name="T106" fmla="*/ 22144522 w 950"/>
                <a:gd name="T107" fmla="*/ 39622459 h 1137"/>
                <a:gd name="T108" fmla="*/ 9490169 w 950"/>
                <a:gd name="T109" fmla="*/ 32704667 h 113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50"/>
                <a:gd name="T166" fmla="*/ 0 h 1137"/>
                <a:gd name="T167" fmla="*/ 950 w 950"/>
                <a:gd name="T168" fmla="*/ 1137 h 113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50" h="1137">
                  <a:moveTo>
                    <a:pt x="0" y="27"/>
                  </a:moveTo>
                  <a:lnTo>
                    <a:pt x="11" y="26"/>
                  </a:lnTo>
                  <a:lnTo>
                    <a:pt x="23" y="27"/>
                  </a:lnTo>
                  <a:lnTo>
                    <a:pt x="32" y="22"/>
                  </a:lnTo>
                  <a:lnTo>
                    <a:pt x="41" y="24"/>
                  </a:lnTo>
                  <a:lnTo>
                    <a:pt x="50" y="20"/>
                  </a:lnTo>
                  <a:lnTo>
                    <a:pt x="63" y="28"/>
                  </a:lnTo>
                  <a:lnTo>
                    <a:pt x="103" y="29"/>
                  </a:lnTo>
                  <a:lnTo>
                    <a:pt x="128" y="21"/>
                  </a:lnTo>
                  <a:lnTo>
                    <a:pt x="137" y="16"/>
                  </a:lnTo>
                  <a:lnTo>
                    <a:pt x="138" y="8"/>
                  </a:lnTo>
                  <a:lnTo>
                    <a:pt x="158" y="0"/>
                  </a:lnTo>
                  <a:lnTo>
                    <a:pt x="168" y="3"/>
                  </a:lnTo>
                  <a:lnTo>
                    <a:pt x="174" y="15"/>
                  </a:lnTo>
                  <a:lnTo>
                    <a:pt x="221" y="24"/>
                  </a:lnTo>
                  <a:lnTo>
                    <a:pt x="355" y="35"/>
                  </a:lnTo>
                  <a:lnTo>
                    <a:pt x="410" y="39"/>
                  </a:lnTo>
                  <a:lnTo>
                    <a:pt x="427" y="40"/>
                  </a:lnTo>
                  <a:lnTo>
                    <a:pt x="449" y="75"/>
                  </a:lnTo>
                  <a:lnTo>
                    <a:pt x="457" y="107"/>
                  </a:lnTo>
                  <a:lnTo>
                    <a:pt x="477" y="149"/>
                  </a:lnTo>
                  <a:lnTo>
                    <a:pt x="477" y="160"/>
                  </a:lnTo>
                  <a:lnTo>
                    <a:pt x="489" y="195"/>
                  </a:lnTo>
                  <a:lnTo>
                    <a:pt x="495" y="194"/>
                  </a:lnTo>
                  <a:lnTo>
                    <a:pt x="495" y="206"/>
                  </a:lnTo>
                  <a:lnTo>
                    <a:pt x="535" y="236"/>
                  </a:lnTo>
                  <a:lnTo>
                    <a:pt x="529" y="252"/>
                  </a:lnTo>
                  <a:lnTo>
                    <a:pt x="537" y="280"/>
                  </a:lnTo>
                  <a:lnTo>
                    <a:pt x="548" y="278"/>
                  </a:lnTo>
                  <a:lnTo>
                    <a:pt x="555" y="273"/>
                  </a:lnTo>
                  <a:lnTo>
                    <a:pt x="597" y="311"/>
                  </a:lnTo>
                  <a:lnTo>
                    <a:pt x="597" y="333"/>
                  </a:lnTo>
                  <a:lnTo>
                    <a:pt x="612" y="369"/>
                  </a:lnTo>
                  <a:lnTo>
                    <a:pt x="618" y="365"/>
                  </a:lnTo>
                  <a:lnTo>
                    <a:pt x="620" y="370"/>
                  </a:lnTo>
                  <a:lnTo>
                    <a:pt x="618" y="394"/>
                  </a:lnTo>
                  <a:lnTo>
                    <a:pt x="625" y="408"/>
                  </a:lnTo>
                  <a:lnTo>
                    <a:pt x="626" y="440"/>
                  </a:lnTo>
                  <a:lnTo>
                    <a:pt x="633" y="438"/>
                  </a:lnTo>
                  <a:lnTo>
                    <a:pt x="636" y="459"/>
                  </a:lnTo>
                  <a:lnTo>
                    <a:pt x="627" y="489"/>
                  </a:lnTo>
                  <a:lnTo>
                    <a:pt x="637" y="502"/>
                  </a:lnTo>
                  <a:lnTo>
                    <a:pt x="635" y="506"/>
                  </a:lnTo>
                  <a:lnTo>
                    <a:pt x="659" y="567"/>
                  </a:lnTo>
                  <a:lnTo>
                    <a:pt x="681" y="581"/>
                  </a:lnTo>
                  <a:lnTo>
                    <a:pt x="679" y="596"/>
                  </a:lnTo>
                  <a:lnTo>
                    <a:pt x="686" y="603"/>
                  </a:lnTo>
                  <a:lnTo>
                    <a:pt x="685" y="645"/>
                  </a:lnTo>
                  <a:lnTo>
                    <a:pt x="697" y="662"/>
                  </a:lnTo>
                  <a:lnTo>
                    <a:pt x="716" y="677"/>
                  </a:lnTo>
                  <a:lnTo>
                    <a:pt x="733" y="720"/>
                  </a:lnTo>
                  <a:lnTo>
                    <a:pt x="732" y="742"/>
                  </a:lnTo>
                  <a:lnTo>
                    <a:pt x="719" y="764"/>
                  </a:lnTo>
                  <a:lnTo>
                    <a:pt x="717" y="796"/>
                  </a:lnTo>
                  <a:lnTo>
                    <a:pt x="727" y="810"/>
                  </a:lnTo>
                  <a:lnTo>
                    <a:pt x="726" y="825"/>
                  </a:lnTo>
                  <a:lnTo>
                    <a:pt x="737" y="849"/>
                  </a:lnTo>
                  <a:lnTo>
                    <a:pt x="763" y="860"/>
                  </a:lnTo>
                  <a:lnTo>
                    <a:pt x="787" y="855"/>
                  </a:lnTo>
                  <a:lnTo>
                    <a:pt x="797" y="840"/>
                  </a:lnTo>
                  <a:lnTo>
                    <a:pt x="806" y="826"/>
                  </a:lnTo>
                  <a:lnTo>
                    <a:pt x="819" y="830"/>
                  </a:lnTo>
                  <a:lnTo>
                    <a:pt x="821" y="834"/>
                  </a:lnTo>
                  <a:lnTo>
                    <a:pt x="829" y="838"/>
                  </a:lnTo>
                  <a:lnTo>
                    <a:pt x="836" y="862"/>
                  </a:lnTo>
                  <a:lnTo>
                    <a:pt x="855" y="868"/>
                  </a:lnTo>
                  <a:lnTo>
                    <a:pt x="861" y="897"/>
                  </a:lnTo>
                  <a:lnTo>
                    <a:pt x="887" y="897"/>
                  </a:lnTo>
                  <a:lnTo>
                    <a:pt x="894" y="936"/>
                  </a:lnTo>
                  <a:lnTo>
                    <a:pt x="899" y="946"/>
                  </a:lnTo>
                  <a:lnTo>
                    <a:pt x="903" y="951"/>
                  </a:lnTo>
                  <a:lnTo>
                    <a:pt x="902" y="959"/>
                  </a:lnTo>
                  <a:lnTo>
                    <a:pt x="896" y="971"/>
                  </a:lnTo>
                  <a:lnTo>
                    <a:pt x="903" y="975"/>
                  </a:lnTo>
                  <a:lnTo>
                    <a:pt x="918" y="993"/>
                  </a:lnTo>
                  <a:lnTo>
                    <a:pt x="931" y="994"/>
                  </a:lnTo>
                  <a:lnTo>
                    <a:pt x="937" y="1004"/>
                  </a:lnTo>
                  <a:lnTo>
                    <a:pt x="947" y="1010"/>
                  </a:lnTo>
                  <a:lnTo>
                    <a:pt x="945" y="1025"/>
                  </a:lnTo>
                  <a:lnTo>
                    <a:pt x="950" y="1038"/>
                  </a:lnTo>
                  <a:lnTo>
                    <a:pt x="949" y="1055"/>
                  </a:lnTo>
                  <a:lnTo>
                    <a:pt x="939" y="1080"/>
                  </a:lnTo>
                  <a:lnTo>
                    <a:pt x="926" y="1095"/>
                  </a:lnTo>
                  <a:lnTo>
                    <a:pt x="918" y="1102"/>
                  </a:lnTo>
                  <a:lnTo>
                    <a:pt x="896" y="1109"/>
                  </a:lnTo>
                  <a:lnTo>
                    <a:pt x="867" y="1131"/>
                  </a:lnTo>
                  <a:lnTo>
                    <a:pt x="859" y="1131"/>
                  </a:lnTo>
                  <a:lnTo>
                    <a:pt x="858" y="1136"/>
                  </a:lnTo>
                  <a:lnTo>
                    <a:pt x="845" y="1137"/>
                  </a:lnTo>
                  <a:lnTo>
                    <a:pt x="833" y="1131"/>
                  </a:lnTo>
                  <a:lnTo>
                    <a:pt x="816" y="1103"/>
                  </a:lnTo>
                  <a:lnTo>
                    <a:pt x="815" y="1094"/>
                  </a:lnTo>
                  <a:lnTo>
                    <a:pt x="809" y="1078"/>
                  </a:lnTo>
                  <a:lnTo>
                    <a:pt x="811" y="1072"/>
                  </a:lnTo>
                  <a:lnTo>
                    <a:pt x="807" y="1064"/>
                  </a:lnTo>
                  <a:lnTo>
                    <a:pt x="810" y="1059"/>
                  </a:lnTo>
                  <a:lnTo>
                    <a:pt x="806" y="1054"/>
                  </a:lnTo>
                  <a:lnTo>
                    <a:pt x="800" y="1037"/>
                  </a:lnTo>
                  <a:lnTo>
                    <a:pt x="786" y="1008"/>
                  </a:lnTo>
                  <a:lnTo>
                    <a:pt x="773" y="978"/>
                  </a:lnTo>
                  <a:lnTo>
                    <a:pt x="744" y="968"/>
                  </a:lnTo>
                  <a:lnTo>
                    <a:pt x="732" y="968"/>
                  </a:lnTo>
                  <a:lnTo>
                    <a:pt x="702" y="926"/>
                  </a:lnTo>
                  <a:lnTo>
                    <a:pt x="702" y="915"/>
                  </a:lnTo>
                  <a:lnTo>
                    <a:pt x="683" y="899"/>
                  </a:lnTo>
                  <a:lnTo>
                    <a:pt x="627" y="848"/>
                  </a:lnTo>
                  <a:lnTo>
                    <a:pt x="630" y="840"/>
                  </a:lnTo>
                  <a:lnTo>
                    <a:pt x="620" y="839"/>
                  </a:lnTo>
                  <a:lnTo>
                    <a:pt x="545" y="812"/>
                  </a:lnTo>
                  <a:lnTo>
                    <a:pt x="525" y="779"/>
                  </a:lnTo>
                  <a:lnTo>
                    <a:pt x="510" y="776"/>
                  </a:lnTo>
                  <a:lnTo>
                    <a:pt x="511" y="746"/>
                  </a:lnTo>
                  <a:lnTo>
                    <a:pt x="486" y="726"/>
                  </a:lnTo>
                  <a:lnTo>
                    <a:pt x="467" y="734"/>
                  </a:lnTo>
                  <a:lnTo>
                    <a:pt x="462" y="731"/>
                  </a:lnTo>
                  <a:lnTo>
                    <a:pt x="463" y="711"/>
                  </a:lnTo>
                  <a:lnTo>
                    <a:pt x="456" y="690"/>
                  </a:lnTo>
                  <a:lnTo>
                    <a:pt x="461" y="654"/>
                  </a:lnTo>
                  <a:lnTo>
                    <a:pt x="479" y="616"/>
                  </a:lnTo>
                  <a:lnTo>
                    <a:pt x="482" y="586"/>
                  </a:lnTo>
                  <a:lnTo>
                    <a:pt x="493" y="579"/>
                  </a:lnTo>
                  <a:lnTo>
                    <a:pt x="489" y="568"/>
                  </a:lnTo>
                  <a:lnTo>
                    <a:pt x="483" y="550"/>
                  </a:lnTo>
                  <a:lnTo>
                    <a:pt x="480" y="473"/>
                  </a:lnTo>
                  <a:lnTo>
                    <a:pt x="474" y="448"/>
                  </a:lnTo>
                  <a:lnTo>
                    <a:pt x="465" y="441"/>
                  </a:lnTo>
                  <a:lnTo>
                    <a:pt x="441" y="405"/>
                  </a:lnTo>
                  <a:lnTo>
                    <a:pt x="431" y="394"/>
                  </a:lnTo>
                  <a:lnTo>
                    <a:pt x="419" y="400"/>
                  </a:lnTo>
                  <a:lnTo>
                    <a:pt x="403" y="393"/>
                  </a:lnTo>
                  <a:lnTo>
                    <a:pt x="404" y="386"/>
                  </a:lnTo>
                  <a:lnTo>
                    <a:pt x="398" y="381"/>
                  </a:lnTo>
                  <a:lnTo>
                    <a:pt x="390" y="383"/>
                  </a:lnTo>
                  <a:lnTo>
                    <a:pt x="383" y="374"/>
                  </a:lnTo>
                  <a:lnTo>
                    <a:pt x="366" y="368"/>
                  </a:lnTo>
                  <a:lnTo>
                    <a:pt x="363" y="358"/>
                  </a:lnTo>
                  <a:lnTo>
                    <a:pt x="373" y="353"/>
                  </a:lnTo>
                  <a:lnTo>
                    <a:pt x="369" y="348"/>
                  </a:lnTo>
                  <a:lnTo>
                    <a:pt x="343" y="339"/>
                  </a:lnTo>
                  <a:lnTo>
                    <a:pt x="337" y="332"/>
                  </a:lnTo>
                  <a:lnTo>
                    <a:pt x="337" y="322"/>
                  </a:lnTo>
                  <a:lnTo>
                    <a:pt x="325" y="274"/>
                  </a:lnTo>
                  <a:lnTo>
                    <a:pt x="314" y="267"/>
                  </a:lnTo>
                  <a:lnTo>
                    <a:pt x="284" y="264"/>
                  </a:lnTo>
                  <a:lnTo>
                    <a:pt x="251" y="263"/>
                  </a:lnTo>
                  <a:lnTo>
                    <a:pt x="229" y="273"/>
                  </a:lnTo>
                  <a:lnTo>
                    <a:pt x="223" y="270"/>
                  </a:lnTo>
                  <a:lnTo>
                    <a:pt x="223" y="261"/>
                  </a:lnTo>
                  <a:lnTo>
                    <a:pt x="211" y="251"/>
                  </a:lnTo>
                  <a:lnTo>
                    <a:pt x="203" y="228"/>
                  </a:lnTo>
                  <a:lnTo>
                    <a:pt x="180" y="216"/>
                  </a:lnTo>
                  <a:lnTo>
                    <a:pt x="159" y="215"/>
                  </a:lnTo>
                  <a:lnTo>
                    <a:pt x="135" y="174"/>
                  </a:lnTo>
                  <a:lnTo>
                    <a:pt x="114" y="170"/>
                  </a:lnTo>
                  <a:lnTo>
                    <a:pt x="107" y="174"/>
                  </a:lnTo>
                  <a:lnTo>
                    <a:pt x="95" y="161"/>
                  </a:lnTo>
                  <a:lnTo>
                    <a:pt x="86" y="160"/>
                  </a:lnTo>
                  <a:lnTo>
                    <a:pt x="81" y="150"/>
                  </a:lnTo>
                  <a:lnTo>
                    <a:pt x="83" y="107"/>
                  </a:lnTo>
                  <a:lnTo>
                    <a:pt x="57" y="88"/>
                  </a:lnTo>
                  <a:lnTo>
                    <a:pt x="47" y="89"/>
                  </a:lnTo>
                  <a:lnTo>
                    <a:pt x="35" y="63"/>
                  </a:lnTo>
                  <a:lnTo>
                    <a:pt x="35" y="46"/>
                  </a:lnTo>
                  <a:lnTo>
                    <a:pt x="27" y="51"/>
                  </a:lnTo>
                  <a:lnTo>
                    <a:pt x="15" y="52"/>
                  </a:lnTo>
                  <a:lnTo>
                    <a:pt x="11" y="54"/>
                  </a:lnTo>
                  <a:lnTo>
                    <a:pt x="0" y="27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6" name="Freeform 34"/>
            <p:cNvSpPr>
              <a:spLocks/>
            </p:cNvSpPr>
            <p:nvPr/>
          </p:nvSpPr>
          <p:spPr bwMode="auto">
            <a:xfrm>
              <a:off x="3263900" y="2617788"/>
              <a:ext cx="863600" cy="1017587"/>
            </a:xfrm>
            <a:custGeom>
              <a:avLst/>
              <a:gdLst>
                <a:gd name="T0" fmla="*/ 131436113 w 1089"/>
                <a:gd name="T1" fmla="*/ 0 h 1281"/>
                <a:gd name="T2" fmla="*/ 46537651 w 1089"/>
                <a:gd name="T3" fmla="*/ 67519797 h 1281"/>
                <a:gd name="T4" fmla="*/ 64145892 w 1089"/>
                <a:gd name="T5" fmla="*/ 143872980 h 1281"/>
                <a:gd name="T6" fmla="*/ 70434550 w 1089"/>
                <a:gd name="T7" fmla="*/ 304783591 h 1281"/>
                <a:gd name="T8" fmla="*/ 65403624 w 1089"/>
                <a:gd name="T9" fmla="*/ 350217540 h 1281"/>
                <a:gd name="T10" fmla="*/ 62888161 w 1089"/>
                <a:gd name="T11" fmla="*/ 401961164 h 1281"/>
                <a:gd name="T12" fmla="*/ 66661355 w 1089"/>
                <a:gd name="T13" fmla="*/ 434774174 h 1281"/>
                <a:gd name="T14" fmla="*/ 57857235 w 1089"/>
                <a:gd name="T15" fmla="*/ 455598564 h 1281"/>
                <a:gd name="T16" fmla="*/ 23897691 w 1089"/>
                <a:gd name="T17" fmla="*/ 448025842 h 1281"/>
                <a:gd name="T18" fmla="*/ 12577315 w 1089"/>
                <a:gd name="T19" fmla="*/ 443609149 h 1281"/>
                <a:gd name="T20" fmla="*/ 3144329 w 1089"/>
                <a:gd name="T21" fmla="*/ 450550347 h 1281"/>
                <a:gd name="T22" fmla="*/ 1257731 w 1089"/>
                <a:gd name="T23" fmla="*/ 463801220 h 1281"/>
                <a:gd name="T24" fmla="*/ 10061852 w 1089"/>
                <a:gd name="T25" fmla="*/ 483994087 h 1281"/>
                <a:gd name="T26" fmla="*/ 21382228 w 1089"/>
                <a:gd name="T27" fmla="*/ 494090520 h 1281"/>
                <a:gd name="T28" fmla="*/ 40248201 w 1089"/>
                <a:gd name="T29" fmla="*/ 534476252 h 1281"/>
                <a:gd name="T30" fmla="*/ 52826309 w 1089"/>
                <a:gd name="T31" fmla="*/ 556562100 h 1281"/>
                <a:gd name="T32" fmla="*/ 46537651 w 1089"/>
                <a:gd name="T33" fmla="*/ 583064641 h 1281"/>
                <a:gd name="T34" fmla="*/ 50310846 w 1089"/>
                <a:gd name="T35" fmla="*/ 603888236 h 1281"/>
                <a:gd name="T36" fmla="*/ 75466269 w 1089"/>
                <a:gd name="T37" fmla="*/ 607674995 h 1281"/>
                <a:gd name="T38" fmla="*/ 86156987 w 1089"/>
                <a:gd name="T39" fmla="*/ 608936453 h 1281"/>
                <a:gd name="T40" fmla="*/ 108168081 w 1089"/>
                <a:gd name="T41" fmla="*/ 621557391 h 1281"/>
                <a:gd name="T42" fmla="*/ 118858799 w 1089"/>
                <a:gd name="T43" fmla="*/ 647429203 h 1281"/>
                <a:gd name="T44" fmla="*/ 132064979 w 1089"/>
                <a:gd name="T45" fmla="*/ 697910574 h 1281"/>
                <a:gd name="T46" fmla="*/ 138983296 w 1089"/>
                <a:gd name="T47" fmla="*/ 728830603 h 1281"/>
                <a:gd name="T48" fmla="*/ 149674013 w 1089"/>
                <a:gd name="T49" fmla="*/ 735141072 h 1281"/>
                <a:gd name="T50" fmla="*/ 179231496 w 1089"/>
                <a:gd name="T51" fmla="*/ 739558559 h 1281"/>
                <a:gd name="T52" fmla="*/ 187406751 w 1089"/>
                <a:gd name="T53" fmla="*/ 762905866 h 1281"/>
                <a:gd name="T54" fmla="*/ 208788980 w 1089"/>
                <a:gd name="T55" fmla="*/ 785623237 h 1281"/>
                <a:gd name="T56" fmla="*/ 233944403 w 1089"/>
                <a:gd name="T57" fmla="*/ 807709085 h 1281"/>
                <a:gd name="T58" fmla="*/ 252810375 w 1089"/>
                <a:gd name="T59" fmla="*/ 808339815 h 1281"/>
                <a:gd name="T60" fmla="*/ 282367858 w 1089"/>
                <a:gd name="T61" fmla="*/ 762905866 h 1281"/>
                <a:gd name="T62" fmla="*/ 295574832 w 1089"/>
                <a:gd name="T63" fmla="*/ 746499758 h 1281"/>
                <a:gd name="T64" fmla="*/ 291801637 w 1089"/>
                <a:gd name="T65" fmla="*/ 720627946 h 1281"/>
                <a:gd name="T66" fmla="*/ 303121221 w 1089"/>
                <a:gd name="T67" fmla="*/ 717472711 h 1281"/>
                <a:gd name="T68" fmla="*/ 320730255 w 1089"/>
                <a:gd name="T69" fmla="*/ 706114026 h 1281"/>
                <a:gd name="T70" fmla="*/ 332049838 w 1089"/>
                <a:gd name="T71" fmla="*/ 670777304 h 1281"/>
                <a:gd name="T72" fmla="*/ 342741349 w 1089"/>
                <a:gd name="T73" fmla="*/ 666359817 h 1281"/>
                <a:gd name="T74" fmla="*/ 353432067 w 1089"/>
                <a:gd name="T75" fmla="*/ 664466835 h 1281"/>
                <a:gd name="T76" fmla="*/ 380474087 w 1089"/>
                <a:gd name="T77" fmla="*/ 687183412 h 1281"/>
                <a:gd name="T78" fmla="*/ 411289302 w 1089"/>
                <a:gd name="T79" fmla="*/ 709899989 h 1281"/>
                <a:gd name="T80" fmla="*/ 435186993 w 1089"/>
                <a:gd name="T81" fmla="*/ 717472711 h 1281"/>
                <a:gd name="T82" fmla="*/ 450279771 w 1089"/>
                <a:gd name="T83" fmla="*/ 711162242 h 1281"/>
                <a:gd name="T84" fmla="*/ 477321791 w 1089"/>
                <a:gd name="T85" fmla="*/ 713055224 h 1281"/>
                <a:gd name="T86" fmla="*/ 503106080 w 1089"/>
                <a:gd name="T87" fmla="*/ 719996422 h 1281"/>
                <a:gd name="T88" fmla="*/ 537065624 w 1089"/>
                <a:gd name="T89" fmla="*/ 711793766 h 1281"/>
                <a:gd name="T90" fmla="*/ 581087812 w 1089"/>
                <a:gd name="T91" fmla="*/ 685921159 h 1281"/>
                <a:gd name="T92" fmla="*/ 620078281 w 1089"/>
                <a:gd name="T93" fmla="*/ 678349232 h 1281"/>
                <a:gd name="T94" fmla="*/ 684853039 w 1089"/>
                <a:gd name="T95" fmla="*/ 385555056 h 1281"/>
                <a:gd name="T96" fmla="*/ 617562818 w 1089"/>
                <a:gd name="T97" fmla="*/ 352110522 h 1281"/>
                <a:gd name="T98" fmla="*/ 576056093 w 1089"/>
                <a:gd name="T99" fmla="*/ 330024674 h 1281"/>
                <a:gd name="T100" fmla="*/ 515054529 w 1089"/>
                <a:gd name="T101" fmla="*/ 247361022 h 1281"/>
                <a:gd name="T102" fmla="*/ 484868180 w 1089"/>
                <a:gd name="T103" fmla="*/ 164696575 h 1281"/>
                <a:gd name="T104" fmla="*/ 414433630 w 1089"/>
                <a:gd name="T105" fmla="*/ 102225789 h 1281"/>
                <a:gd name="T106" fmla="*/ 360978456 w 1089"/>
                <a:gd name="T107" fmla="*/ 57423364 h 1281"/>
                <a:gd name="T108" fmla="*/ 320730255 w 1089"/>
                <a:gd name="T109" fmla="*/ 12620144 h 128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89"/>
                <a:gd name="T166" fmla="*/ 0 h 1281"/>
                <a:gd name="T167" fmla="*/ 1089 w 1089"/>
                <a:gd name="T168" fmla="*/ 1281 h 128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89" h="1281">
                  <a:moveTo>
                    <a:pt x="506" y="14"/>
                  </a:moveTo>
                  <a:lnTo>
                    <a:pt x="370" y="8"/>
                  </a:lnTo>
                  <a:lnTo>
                    <a:pt x="209" y="0"/>
                  </a:lnTo>
                  <a:lnTo>
                    <a:pt x="204" y="92"/>
                  </a:lnTo>
                  <a:lnTo>
                    <a:pt x="87" y="85"/>
                  </a:lnTo>
                  <a:lnTo>
                    <a:pt x="74" y="107"/>
                  </a:lnTo>
                  <a:lnTo>
                    <a:pt x="83" y="104"/>
                  </a:lnTo>
                  <a:lnTo>
                    <a:pt x="87" y="139"/>
                  </a:lnTo>
                  <a:lnTo>
                    <a:pt x="102" y="228"/>
                  </a:lnTo>
                  <a:lnTo>
                    <a:pt x="119" y="275"/>
                  </a:lnTo>
                  <a:lnTo>
                    <a:pt x="126" y="338"/>
                  </a:lnTo>
                  <a:lnTo>
                    <a:pt x="112" y="483"/>
                  </a:lnTo>
                  <a:lnTo>
                    <a:pt x="95" y="481"/>
                  </a:lnTo>
                  <a:lnTo>
                    <a:pt x="101" y="511"/>
                  </a:lnTo>
                  <a:lnTo>
                    <a:pt x="104" y="555"/>
                  </a:lnTo>
                  <a:lnTo>
                    <a:pt x="111" y="595"/>
                  </a:lnTo>
                  <a:lnTo>
                    <a:pt x="107" y="618"/>
                  </a:lnTo>
                  <a:lnTo>
                    <a:pt x="100" y="637"/>
                  </a:lnTo>
                  <a:lnTo>
                    <a:pt x="107" y="660"/>
                  </a:lnTo>
                  <a:lnTo>
                    <a:pt x="106" y="677"/>
                  </a:lnTo>
                  <a:lnTo>
                    <a:pt x="106" y="689"/>
                  </a:lnTo>
                  <a:lnTo>
                    <a:pt x="110" y="703"/>
                  </a:lnTo>
                  <a:lnTo>
                    <a:pt x="110" y="709"/>
                  </a:lnTo>
                  <a:lnTo>
                    <a:pt x="92" y="722"/>
                  </a:lnTo>
                  <a:lnTo>
                    <a:pt x="71" y="711"/>
                  </a:lnTo>
                  <a:lnTo>
                    <a:pt x="60" y="709"/>
                  </a:lnTo>
                  <a:lnTo>
                    <a:pt x="38" y="710"/>
                  </a:lnTo>
                  <a:lnTo>
                    <a:pt x="30" y="709"/>
                  </a:lnTo>
                  <a:lnTo>
                    <a:pt x="24" y="705"/>
                  </a:lnTo>
                  <a:lnTo>
                    <a:pt x="20" y="703"/>
                  </a:lnTo>
                  <a:lnTo>
                    <a:pt x="16" y="705"/>
                  </a:lnTo>
                  <a:lnTo>
                    <a:pt x="14" y="708"/>
                  </a:lnTo>
                  <a:lnTo>
                    <a:pt x="5" y="714"/>
                  </a:lnTo>
                  <a:lnTo>
                    <a:pt x="0" y="719"/>
                  </a:lnTo>
                  <a:lnTo>
                    <a:pt x="2" y="726"/>
                  </a:lnTo>
                  <a:lnTo>
                    <a:pt x="2" y="735"/>
                  </a:lnTo>
                  <a:lnTo>
                    <a:pt x="10" y="755"/>
                  </a:lnTo>
                  <a:lnTo>
                    <a:pt x="14" y="762"/>
                  </a:lnTo>
                  <a:lnTo>
                    <a:pt x="16" y="767"/>
                  </a:lnTo>
                  <a:lnTo>
                    <a:pt x="23" y="769"/>
                  </a:lnTo>
                  <a:lnTo>
                    <a:pt x="28" y="773"/>
                  </a:lnTo>
                  <a:lnTo>
                    <a:pt x="34" y="783"/>
                  </a:lnTo>
                  <a:lnTo>
                    <a:pt x="45" y="812"/>
                  </a:lnTo>
                  <a:lnTo>
                    <a:pt x="65" y="836"/>
                  </a:lnTo>
                  <a:lnTo>
                    <a:pt x="64" y="847"/>
                  </a:lnTo>
                  <a:lnTo>
                    <a:pt x="66" y="854"/>
                  </a:lnTo>
                  <a:lnTo>
                    <a:pt x="80" y="864"/>
                  </a:lnTo>
                  <a:lnTo>
                    <a:pt x="84" y="882"/>
                  </a:lnTo>
                  <a:lnTo>
                    <a:pt x="93" y="905"/>
                  </a:lnTo>
                  <a:lnTo>
                    <a:pt x="81" y="915"/>
                  </a:lnTo>
                  <a:lnTo>
                    <a:pt x="74" y="924"/>
                  </a:lnTo>
                  <a:lnTo>
                    <a:pt x="71" y="931"/>
                  </a:lnTo>
                  <a:lnTo>
                    <a:pt x="72" y="945"/>
                  </a:lnTo>
                  <a:lnTo>
                    <a:pt x="80" y="957"/>
                  </a:lnTo>
                  <a:lnTo>
                    <a:pt x="92" y="965"/>
                  </a:lnTo>
                  <a:lnTo>
                    <a:pt x="101" y="975"/>
                  </a:lnTo>
                  <a:lnTo>
                    <a:pt x="120" y="963"/>
                  </a:lnTo>
                  <a:lnTo>
                    <a:pt x="126" y="966"/>
                  </a:lnTo>
                  <a:lnTo>
                    <a:pt x="131" y="966"/>
                  </a:lnTo>
                  <a:lnTo>
                    <a:pt x="137" y="965"/>
                  </a:lnTo>
                  <a:lnTo>
                    <a:pt x="144" y="967"/>
                  </a:lnTo>
                  <a:lnTo>
                    <a:pt x="158" y="978"/>
                  </a:lnTo>
                  <a:lnTo>
                    <a:pt x="172" y="985"/>
                  </a:lnTo>
                  <a:lnTo>
                    <a:pt x="180" y="999"/>
                  </a:lnTo>
                  <a:lnTo>
                    <a:pt x="183" y="1011"/>
                  </a:lnTo>
                  <a:lnTo>
                    <a:pt x="189" y="1026"/>
                  </a:lnTo>
                  <a:lnTo>
                    <a:pt x="194" y="1051"/>
                  </a:lnTo>
                  <a:lnTo>
                    <a:pt x="203" y="1070"/>
                  </a:lnTo>
                  <a:lnTo>
                    <a:pt x="210" y="1106"/>
                  </a:lnTo>
                  <a:lnTo>
                    <a:pt x="210" y="1123"/>
                  </a:lnTo>
                  <a:lnTo>
                    <a:pt x="214" y="1151"/>
                  </a:lnTo>
                  <a:lnTo>
                    <a:pt x="221" y="1155"/>
                  </a:lnTo>
                  <a:lnTo>
                    <a:pt x="222" y="1159"/>
                  </a:lnTo>
                  <a:lnTo>
                    <a:pt x="231" y="1165"/>
                  </a:lnTo>
                  <a:lnTo>
                    <a:pt x="238" y="1165"/>
                  </a:lnTo>
                  <a:lnTo>
                    <a:pt x="260" y="1171"/>
                  </a:lnTo>
                  <a:lnTo>
                    <a:pt x="275" y="1173"/>
                  </a:lnTo>
                  <a:lnTo>
                    <a:pt x="285" y="1172"/>
                  </a:lnTo>
                  <a:lnTo>
                    <a:pt x="293" y="1178"/>
                  </a:lnTo>
                  <a:lnTo>
                    <a:pt x="296" y="1188"/>
                  </a:lnTo>
                  <a:lnTo>
                    <a:pt x="298" y="1209"/>
                  </a:lnTo>
                  <a:lnTo>
                    <a:pt x="303" y="1220"/>
                  </a:lnTo>
                  <a:lnTo>
                    <a:pt x="315" y="1224"/>
                  </a:lnTo>
                  <a:lnTo>
                    <a:pt x="332" y="1245"/>
                  </a:lnTo>
                  <a:lnTo>
                    <a:pt x="340" y="1257"/>
                  </a:lnTo>
                  <a:lnTo>
                    <a:pt x="342" y="1278"/>
                  </a:lnTo>
                  <a:lnTo>
                    <a:pt x="372" y="1280"/>
                  </a:lnTo>
                  <a:lnTo>
                    <a:pt x="387" y="1278"/>
                  </a:lnTo>
                  <a:lnTo>
                    <a:pt x="393" y="1281"/>
                  </a:lnTo>
                  <a:lnTo>
                    <a:pt x="402" y="1281"/>
                  </a:lnTo>
                  <a:lnTo>
                    <a:pt x="428" y="1275"/>
                  </a:lnTo>
                  <a:lnTo>
                    <a:pt x="444" y="1266"/>
                  </a:lnTo>
                  <a:lnTo>
                    <a:pt x="449" y="1209"/>
                  </a:lnTo>
                  <a:lnTo>
                    <a:pt x="453" y="1201"/>
                  </a:lnTo>
                  <a:lnTo>
                    <a:pt x="465" y="1191"/>
                  </a:lnTo>
                  <a:lnTo>
                    <a:pt x="470" y="1183"/>
                  </a:lnTo>
                  <a:lnTo>
                    <a:pt x="470" y="1173"/>
                  </a:lnTo>
                  <a:lnTo>
                    <a:pt x="464" y="1151"/>
                  </a:lnTo>
                  <a:lnTo>
                    <a:pt x="464" y="1142"/>
                  </a:lnTo>
                  <a:lnTo>
                    <a:pt x="467" y="1139"/>
                  </a:lnTo>
                  <a:lnTo>
                    <a:pt x="472" y="1137"/>
                  </a:lnTo>
                  <a:lnTo>
                    <a:pt x="482" y="1137"/>
                  </a:lnTo>
                  <a:lnTo>
                    <a:pt x="497" y="1135"/>
                  </a:lnTo>
                  <a:lnTo>
                    <a:pt x="508" y="1131"/>
                  </a:lnTo>
                  <a:lnTo>
                    <a:pt x="510" y="1119"/>
                  </a:lnTo>
                  <a:lnTo>
                    <a:pt x="507" y="1089"/>
                  </a:lnTo>
                  <a:lnTo>
                    <a:pt x="520" y="1075"/>
                  </a:lnTo>
                  <a:lnTo>
                    <a:pt x="528" y="1063"/>
                  </a:lnTo>
                  <a:lnTo>
                    <a:pt x="531" y="1069"/>
                  </a:lnTo>
                  <a:lnTo>
                    <a:pt x="539" y="1069"/>
                  </a:lnTo>
                  <a:lnTo>
                    <a:pt x="545" y="1056"/>
                  </a:lnTo>
                  <a:lnTo>
                    <a:pt x="551" y="1051"/>
                  </a:lnTo>
                  <a:lnTo>
                    <a:pt x="555" y="1051"/>
                  </a:lnTo>
                  <a:lnTo>
                    <a:pt x="562" y="1053"/>
                  </a:lnTo>
                  <a:lnTo>
                    <a:pt x="580" y="1075"/>
                  </a:lnTo>
                  <a:lnTo>
                    <a:pt x="585" y="1079"/>
                  </a:lnTo>
                  <a:lnTo>
                    <a:pt x="605" y="1089"/>
                  </a:lnTo>
                  <a:lnTo>
                    <a:pt x="618" y="1091"/>
                  </a:lnTo>
                  <a:lnTo>
                    <a:pt x="626" y="1095"/>
                  </a:lnTo>
                  <a:lnTo>
                    <a:pt x="654" y="1125"/>
                  </a:lnTo>
                  <a:lnTo>
                    <a:pt x="666" y="1134"/>
                  </a:lnTo>
                  <a:lnTo>
                    <a:pt x="687" y="1141"/>
                  </a:lnTo>
                  <a:lnTo>
                    <a:pt x="692" y="1137"/>
                  </a:lnTo>
                  <a:lnTo>
                    <a:pt x="696" y="1130"/>
                  </a:lnTo>
                  <a:lnTo>
                    <a:pt x="702" y="1128"/>
                  </a:lnTo>
                  <a:lnTo>
                    <a:pt x="716" y="1127"/>
                  </a:lnTo>
                  <a:lnTo>
                    <a:pt x="723" y="1130"/>
                  </a:lnTo>
                  <a:lnTo>
                    <a:pt x="736" y="1140"/>
                  </a:lnTo>
                  <a:lnTo>
                    <a:pt x="759" y="1130"/>
                  </a:lnTo>
                  <a:lnTo>
                    <a:pt x="766" y="1129"/>
                  </a:lnTo>
                  <a:lnTo>
                    <a:pt x="797" y="1140"/>
                  </a:lnTo>
                  <a:lnTo>
                    <a:pt x="800" y="1141"/>
                  </a:lnTo>
                  <a:lnTo>
                    <a:pt x="809" y="1159"/>
                  </a:lnTo>
                  <a:lnTo>
                    <a:pt x="828" y="1161"/>
                  </a:lnTo>
                  <a:lnTo>
                    <a:pt x="854" y="1128"/>
                  </a:lnTo>
                  <a:lnTo>
                    <a:pt x="866" y="1106"/>
                  </a:lnTo>
                  <a:lnTo>
                    <a:pt x="888" y="1088"/>
                  </a:lnTo>
                  <a:lnTo>
                    <a:pt x="924" y="1087"/>
                  </a:lnTo>
                  <a:lnTo>
                    <a:pt x="938" y="1093"/>
                  </a:lnTo>
                  <a:lnTo>
                    <a:pt x="989" y="1103"/>
                  </a:lnTo>
                  <a:lnTo>
                    <a:pt x="986" y="1075"/>
                  </a:lnTo>
                  <a:lnTo>
                    <a:pt x="945" y="909"/>
                  </a:lnTo>
                  <a:lnTo>
                    <a:pt x="936" y="863"/>
                  </a:lnTo>
                  <a:lnTo>
                    <a:pt x="1089" y="611"/>
                  </a:lnTo>
                  <a:lnTo>
                    <a:pt x="1049" y="600"/>
                  </a:lnTo>
                  <a:lnTo>
                    <a:pt x="1023" y="577"/>
                  </a:lnTo>
                  <a:lnTo>
                    <a:pt x="982" y="558"/>
                  </a:lnTo>
                  <a:lnTo>
                    <a:pt x="975" y="548"/>
                  </a:lnTo>
                  <a:lnTo>
                    <a:pt x="938" y="539"/>
                  </a:lnTo>
                  <a:lnTo>
                    <a:pt x="916" y="523"/>
                  </a:lnTo>
                  <a:lnTo>
                    <a:pt x="894" y="497"/>
                  </a:lnTo>
                  <a:lnTo>
                    <a:pt x="850" y="469"/>
                  </a:lnTo>
                  <a:lnTo>
                    <a:pt x="819" y="392"/>
                  </a:lnTo>
                  <a:lnTo>
                    <a:pt x="814" y="341"/>
                  </a:lnTo>
                  <a:lnTo>
                    <a:pt x="788" y="283"/>
                  </a:lnTo>
                  <a:lnTo>
                    <a:pt x="771" y="261"/>
                  </a:lnTo>
                  <a:lnTo>
                    <a:pt x="767" y="252"/>
                  </a:lnTo>
                  <a:lnTo>
                    <a:pt x="702" y="213"/>
                  </a:lnTo>
                  <a:lnTo>
                    <a:pt x="659" y="162"/>
                  </a:lnTo>
                  <a:lnTo>
                    <a:pt x="636" y="146"/>
                  </a:lnTo>
                  <a:lnTo>
                    <a:pt x="596" y="99"/>
                  </a:lnTo>
                  <a:lnTo>
                    <a:pt x="574" y="91"/>
                  </a:lnTo>
                  <a:lnTo>
                    <a:pt x="557" y="74"/>
                  </a:lnTo>
                  <a:lnTo>
                    <a:pt x="525" y="23"/>
                  </a:lnTo>
                  <a:lnTo>
                    <a:pt x="510" y="20"/>
                  </a:lnTo>
                  <a:lnTo>
                    <a:pt x="506" y="14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7" name="Freeform 35"/>
            <p:cNvSpPr>
              <a:spLocks/>
            </p:cNvSpPr>
            <p:nvPr/>
          </p:nvSpPr>
          <p:spPr bwMode="auto">
            <a:xfrm>
              <a:off x="3876675" y="4654550"/>
              <a:ext cx="193675" cy="141288"/>
            </a:xfrm>
            <a:custGeom>
              <a:avLst/>
              <a:gdLst>
                <a:gd name="T0" fmla="*/ 9998373 w 245"/>
                <a:gd name="T1" fmla="*/ 47973196 h 179"/>
                <a:gd name="T2" fmla="*/ 11248170 w 245"/>
                <a:gd name="T3" fmla="*/ 48595968 h 179"/>
                <a:gd name="T4" fmla="*/ 12497966 w 245"/>
                <a:gd name="T5" fmla="*/ 51710619 h 179"/>
                <a:gd name="T6" fmla="*/ 14373057 w 245"/>
                <a:gd name="T7" fmla="*/ 51087846 h 179"/>
                <a:gd name="T8" fmla="*/ 16247356 w 245"/>
                <a:gd name="T9" fmla="*/ 51087846 h 179"/>
                <a:gd name="T10" fmla="*/ 18746949 w 245"/>
                <a:gd name="T11" fmla="*/ 52334180 h 179"/>
                <a:gd name="T12" fmla="*/ 18746949 w 245"/>
                <a:gd name="T13" fmla="*/ 50465074 h 179"/>
                <a:gd name="T14" fmla="*/ 22496339 w 245"/>
                <a:gd name="T15" fmla="*/ 49218740 h 179"/>
                <a:gd name="T16" fmla="*/ 23121633 w 245"/>
                <a:gd name="T17" fmla="*/ 52334180 h 179"/>
                <a:gd name="T18" fmla="*/ 25621226 w 245"/>
                <a:gd name="T19" fmla="*/ 51710619 h 179"/>
                <a:gd name="T20" fmla="*/ 29370616 w 245"/>
                <a:gd name="T21" fmla="*/ 52956952 h 179"/>
                <a:gd name="T22" fmla="*/ 29995119 w 245"/>
                <a:gd name="T23" fmla="*/ 56695165 h 179"/>
                <a:gd name="T24" fmla="*/ 26245729 w 245"/>
                <a:gd name="T25" fmla="*/ 60433377 h 179"/>
                <a:gd name="T26" fmla="*/ 29995119 w 245"/>
                <a:gd name="T27" fmla="*/ 62302483 h 179"/>
                <a:gd name="T28" fmla="*/ 53116752 w 245"/>
                <a:gd name="T29" fmla="*/ 71648013 h 179"/>
                <a:gd name="T30" fmla="*/ 64365712 w 245"/>
                <a:gd name="T31" fmla="*/ 78500876 h 179"/>
                <a:gd name="T32" fmla="*/ 73738792 w 245"/>
                <a:gd name="T33" fmla="*/ 85354528 h 179"/>
                <a:gd name="T34" fmla="*/ 96235922 w 245"/>
                <a:gd name="T35" fmla="*/ 104667571 h 179"/>
                <a:gd name="T36" fmla="*/ 97485718 w 245"/>
                <a:gd name="T37" fmla="*/ 107160239 h 179"/>
                <a:gd name="T38" fmla="*/ 102484905 w 245"/>
                <a:gd name="T39" fmla="*/ 111521223 h 179"/>
                <a:gd name="T40" fmla="*/ 123731448 w 245"/>
                <a:gd name="T41" fmla="*/ 93453724 h 179"/>
                <a:gd name="T42" fmla="*/ 128730634 w 245"/>
                <a:gd name="T43" fmla="*/ 85354528 h 179"/>
                <a:gd name="T44" fmla="*/ 138104504 w 245"/>
                <a:gd name="T45" fmla="*/ 77878103 h 179"/>
                <a:gd name="T46" fmla="*/ 138104504 w 245"/>
                <a:gd name="T47" fmla="*/ 74139891 h 179"/>
                <a:gd name="T48" fmla="*/ 138729007 w 245"/>
                <a:gd name="T49" fmla="*/ 69778907 h 179"/>
                <a:gd name="T50" fmla="*/ 141853894 w 245"/>
                <a:gd name="T51" fmla="*/ 71024451 h 179"/>
                <a:gd name="T52" fmla="*/ 145603284 w 245"/>
                <a:gd name="T53" fmla="*/ 72893558 h 179"/>
                <a:gd name="T54" fmla="*/ 149352674 w 245"/>
                <a:gd name="T55" fmla="*/ 67909801 h 179"/>
                <a:gd name="T56" fmla="*/ 152476770 w 245"/>
                <a:gd name="T57" fmla="*/ 66040695 h 179"/>
                <a:gd name="T58" fmla="*/ 152476770 w 245"/>
                <a:gd name="T59" fmla="*/ 60433377 h 179"/>
                <a:gd name="T60" fmla="*/ 148727380 w 245"/>
                <a:gd name="T61" fmla="*/ 51087846 h 179"/>
                <a:gd name="T62" fmla="*/ 150602471 w 245"/>
                <a:gd name="T63" fmla="*/ 44234984 h 179"/>
                <a:gd name="T64" fmla="*/ 149352674 w 245"/>
                <a:gd name="T65" fmla="*/ 38004104 h 179"/>
                <a:gd name="T66" fmla="*/ 150602471 w 245"/>
                <a:gd name="T67" fmla="*/ 26790257 h 179"/>
                <a:gd name="T68" fmla="*/ 138729007 w 245"/>
                <a:gd name="T69" fmla="*/ 8099196 h 179"/>
                <a:gd name="T70" fmla="*/ 135604911 w 245"/>
                <a:gd name="T71" fmla="*/ 3738212 h 179"/>
                <a:gd name="T72" fmla="*/ 134979617 w 245"/>
                <a:gd name="T73" fmla="*/ 622772 h 179"/>
                <a:gd name="T74" fmla="*/ 131855521 w 245"/>
                <a:gd name="T75" fmla="*/ 0 h 179"/>
                <a:gd name="T76" fmla="*/ 124356741 w 245"/>
                <a:gd name="T77" fmla="*/ 5607318 h 179"/>
                <a:gd name="T78" fmla="*/ 120606561 w 245"/>
                <a:gd name="T79" fmla="*/ 9968303 h 179"/>
                <a:gd name="T80" fmla="*/ 116857171 w 245"/>
                <a:gd name="T81" fmla="*/ 11214636 h 179"/>
                <a:gd name="T82" fmla="*/ 111233481 w 245"/>
                <a:gd name="T83" fmla="*/ 13706515 h 179"/>
                <a:gd name="T84" fmla="*/ 94986125 w 245"/>
                <a:gd name="T85" fmla="*/ 10591075 h 179"/>
                <a:gd name="T86" fmla="*/ 83112662 w 245"/>
                <a:gd name="T87" fmla="*/ 7476424 h 179"/>
                <a:gd name="T88" fmla="*/ 78737978 w 245"/>
                <a:gd name="T89" fmla="*/ 10591075 h 179"/>
                <a:gd name="T90" fmla="*/ 68115102 w 245"/>
                <a:gd name="T91" fmla="*/ 22428483 h 179"/>
                <a:gd name="T92" fmla="*/ 61240826 w 245"/>
                <a:gd name="T93" fmla="*/ 26790257 h 179"/>
                <a:gd name="T94" fmla="*/ 57491436 w 245"/>
                <a:gd name="T95" fmla="*/ 26790257 h 179"/>
                <a:gd name="T96" fmla="*/ 54991842 w 245"/>
                <a:gd name="T97" fmla="*/ 29904908 h 179"/>
                <a:gd name="T98" fmla="*/ 49367362 w 245"/>
                <a:gd name="T99" fmla="*/ 30528469 h 179"/>
                <a:gd name="T100" fmla="*/ 45617972 w 245"/>
                <a:gd name="T101" fmla="*/ 31774014 h 179"/>
                <a:gd name="T102" fmla="*/ 43743673 w 245"/>
                <a:gd name="T103" fmla="*/ 28659363 h 179"/>
                <a:gd name="T104" fmla="*/ 38744486 w 245"/>
                <a:gd name="T105" fmla="*/ 30528469 h 179"/>
                <a:gd name="T106" fmla="*/ 38119193 w 245"/>
                <a:gd name="T107" fmla="*/ 34266681 h 179"/>
                <a:gd name="T108" fmla="*/ 34995096 w 245"/>
                <a:gd name="T109" fmla="*/ 36134998 h 179"/>
                <a:gd name="T110" fmla="*/ 28745323 w 245"/>
                <a:gd name="T111" fmla="*/ 33020347 h 179"/>
                <a:gd name="T112" fmla="*/ 21246543 w 245"/>
                <a:gd name="T113" fmla="*/ 31774014 h 179"/>
                <a:gd name="T114" fmla="*/ 17497153 w 245"/>
                <a:gd name="T115" fmla="*/ 29904908 h 179"/>
                <a:gd name="T116" fmla="*/ 11873463 w 245"/>
                <a:gd name="T117" fmla="*/ 37381332 h 17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5"/>
                <a:gd name="T178" fmla="*/ 0 h 179"/>
                <a:gd name="T179" fmla="*/ 245 w 245"/>
                <a:gd name="T180" fmla="*/ 179 h 17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5" h="179">
                  <a:moveTo>
                    <a:pt x="0" y="72"/>
                  </a:moveTo>
                  <a:lnTo>
                    <a:pt x="16" y="77"/>
                  </a:lnTo>
                  <a:lnTo>
                    <a:pt x="17" y="79"/>
                  </a:lnTo>
                  <a:lnTo>
                    <a:pt x="18" y="78"/>
                  </a:lnTo>
                  <a:lnTo>
                    <a:pt x="20" y="81"/>
                  </a:lnTo>
                  <a:lnTo>
                    <a:pt x="20" y="83"/>
                  </a:lnTo>
                  <a:lnTo>
                    <a:pt x="23" y="84"/>
                  </a:lnTo>
                  <a:lnTo>
                    <a:pt x="23" y="82"/>
                  </a:lnTo>
                  <a:lnTo>
                    <a:pt x="24" y="83"/>
                  </a:lnTo>
                  <a:lnTo>
                    <a:pt x="26" y="82"/>
                  </a:lnTo>
                  <a:lnTo>
                    <a:pt x="28" y="82"/>
                  </a:lnTo>
                  <a:lnTo>
                    <a:pt x="30" y="84"/>
                  </a:lnTo>
                  <a:lnTo>
                    <a:pt x="31" y="83"/>
                  </a:lnTo>
                  <a:lnTo>
                    <a:pt x="30" y="81"/>
                  </a:lnTo>
                  <a:lnTo>
                    <a:pt x="32" y="79"/>
                  </a:lnTo>
                  <a:lnTo>
                    <a:pt x="36" y="79"/>
                  </a:lnTo>
                  <a:lnTo>
                    <a:pt x="38" y="81"/>
                  </a:lnTo>
                  <a:lnTo>
                    <a:pt x="37" y="84"/>
                  </a:lnTo>
                  <a:lnTo>
                    <a:pt x="38" y="85"/>
                  </a:lnTo>
                  <a:lnTo>
                    <a:pt x="41" y="83"/>
                  </a:lnTo>
                  <a:lnTo>
                    <a:pt x="43" y="83"/>
                  </a:lnTo>
                  <a:lnTo>
                    <a:pt x="47" y="85"/>
                  </a:lnTo>
                  <a:lnTo>
                    <a:pt x="48" y="90"/>
                  </a:lnTo>
                  <a:lnTo>
                    <a:pt x="48" y="91"/>
                  </a:lnTo>
                  <a:lnTo>
                    <a:pt x="43" y="95"/>
                  </a:lnTo>
                  <a:lnTo>
                    <a:pt x="42" y="97"/>
                  </a:lnTo>
                  <a:lnTo>
                    <a:pt x="43" y="99"/>
                  </a:lnTo>
                  <a:lnTo>
                    <a:pt x="48" y="100"/>
                  </a:lnTo>
                  <a:lnTo>
                    <a:pt x="64" y="108"/>
                  </a:lnTo>
                  <a:lnTo>
                    <a:pt x="85" y="115"/>
                  </a:lnTo>
                  <a:lnTo>
                    <a:pt x="92" y="120"/>
                  </a:lnTo>
                  <a:lnTo>
                    <a:pt x="103" y="126"/>
                  </a:lnTo>
                  <a:lnTo>
                    <a:pt x="114" y="133"/>
                  </a:lnTo>
                  <a:lnTo>
                    <a:pt x="118" y="137"/>
                  </a:lnTo>
                  <a:lnTo>
                    <a:pt x="146" y="160"/>
                  </a:lnTo>
                  <a:lnTo>
                    <a:pt x="154" y="168"/>
                  </a:lnTo>
                  <a:lnTo>
                    <a:pt x="157" y="171"/>
                  </a:lnTo>
                  <a:lnTo>
                    <a:pt x="156" y="172"/>
                  </a:lnTo>
                  <a:lnTo>
                    <a:pt x="160" y="173"/>
                  </a:lnTo>
                  <a:lnTo>
                    <a:pt x="164" y="179"/>
                  </a:lnTo>
                  <a:lnTo>
                    <a:pt x="182" y="166"/>
                  </a:lnTo>
                  <a:lnTo>
                    <a:pt x="198" y="150"/>
                  </a:lnTo>
                  <a:lnTo>
                    <a:pt x="203" y="144"/>
                  </a:lnTo>
                  <a:lnTo>
                    <a:pt x="206" y="137"/>
                  </a:lnTo>
                  <a:lnTo>
                    <a:pt x="217" y="130"/>
                  </a:lnTo>
                  <a:lnTo>
                    <a:pt x="221" y="125"/>
                  </a:lnTo>
                  <a:lnTo>
                    <a:pt x="222" y="123"/>
                  </a:lnTo>
                  <a:lnTo>
                    <a:pt x="221" y="119"/>
                  </a:lnTo>
                  <a:lnTo>
                    <a:pt x="220" y="117"/>
                  </a:lnTo>
                  <a:lnTo>
                    <a:pt x="222" y="112"/>
                  </a:lnTo>
                  <a:lnTo>
                    <a:pt x="224" y="114"/>
                  </a:lnTo>
                  <a:lnTo>
                    <a:pt x="227" y="114"/>
                  </a:lnTo>
                  <a:lnTo>
                    <a:pt x="229" y="117"/>
                  </a:lnTo>
                  <a:lnTo>
                    <a:pt x="233" y="117"/>
                  </a:lnTo>
                  <a:lnTo>
                    <a:pt x="234" y="115"/>
                  </a:lnTo>
                  <a:lnTo>
                    <a:pt x="239" y="109"/>
                  </a:lnTo>
                  <a:lnTo>
                    <a:pt x="239" y="107"/>
                  </a:lnTo>
                  <a:lnTo>
                    <a:pt x="244" y="106"/>
                  </a:lnTo>
                  <a:lnTo>
                    <a:pt x="245" y="103"/>
                  </a:lnTo>
                  <a:lnTo>
                    <a:pt x="244" y="97"/>
                  </a:lnTo>
                  <a:lnTo>
                    <a:pt x="239" y="90"/>
                  </a:lnTo>
                  <a:lnTo>
                    <a:pt x="238" y="82"/>
                  </a:lnTo>
                  <a:lnTo>
                    <a:pt x="239" y="76"/>
                  </a:lnTo>
                  <a:lnTo>
                    <a:pt x="241" y="71"/>
                  </a:lnTo>
                  <a:lnTo>
                    <a:pt x="240" y="65"/>
                  </a:lnTo>
                  <a:lnTo>
                    <a:pt x="239" y="61"/>
                  </a:lnTo>
                  <a:lnTo>
                    <a:pt x="240" y="51"/>
                  </a:lnTo>
                  <a:lnTo>
                    <a:pt x="241" y="43"/>
                  </a:lnTo>
                  <a:lnTo>
                    <a:pt x="245" y="39"/>
                  </a:lnTo>
                  <a:lnTo>
                    <a:pt x="222" y="13"/>
                  </a:lnTo>
                  <a:lnTo>
                    <a:pt x="221" y="12"/>
                  </a:lnTo>
                  <a:lnTo>
                    <a:pt x="217" y="6"/>
                  </a:lnTo>
                  <a:lnTo>
                    <a:pt x="217" y="3"/>
                  </a:lnTo>
                  <a:lnTo>
                    <a:pt x="216" y="1"/>
                  </a:lnTo>
                  <a:lnTo>
                    <a:pt x="214" y="0"/>
                  </a:lnTo>
                  <a:lnTo>
                    <a:pt x="211" y="0"/>
                  </a:lnTo>
                  <a:lnTo>
                    <a:pt x="210" y="3"/>
                  </a:lnTo>
                  <a:lnTo>
                    <a:pt x="199" y="9"/>
                  </a:lnTo>
                  <a:lnTo>
                    <a:pt x="197" y="13"/>
                  </a:lnTo>
                  <a:lnTo>
                    <a:pt x="193" y="16"/>
                  </a:lnTo>
                  <a:lnTo>
                    <a:pt x="191" y="16"/>
                  </a:lnTo>
                  <a:lnTo>
                    <a:pt x="187" y="18"/>
                  </a:lnTo>
                  <a:lnTo>
                    <a:pt x="180" y="21"/>
                  </a:lnTo>
                  <a:lnTo>
                    <a:pt x="178" y="22"/>
                  </a:lnTo>
                  <a:lnTo>
                    <a:pt x="174" y="19"/>
                  </a:lnTo>
                  <a:lnTo>
                    <a:pt x="152" y="17"/>
                  </a:lnTo>
                  <a:lnTo>
                    <a:pt x="138" y="13"/>
                  </a:lnTo>
                  <a:lnTo>
                    <a:pt x="133" y="12"/>
                  </a:lnTo>
                  <a:lnTo>
                    <a:pt x="128" y="13"/>
                  </a:lnTo>
                  <a:lnTo>
                    <a:pt x="126" y="17"/>
                  </a:lnTo>
                  <a:lnTo>
                    <a:pt x="122" y="25"/>
                  </a:lnTo>
                  <a:lnTo>
                    <a:pt x="109" y="36"/>
                  </a:lnTo>
                  <a:lnTo>
                    <a:pt x="101" y="41"/>
                  </a:lnTo>
                  <a:lnTo>
                    <a:pt x="98" y="43"/>
                  </a:lnTo>
                  <a:lnTo>
                    <a:pt x="95" y="45"/>
                  </a:lnTo>
                  <a:lnTo>
                    <a:pt x="92" y="43"/>
                  </a:lnTo>
                  <a:lnTo>
                    <a:pt x="90" y="46"/>
                  </a:lnTo>
                  <a:lnTo>
                    <a:pt x="88" y="48"/>
                  </a:lnTo>
                  <a:lnTo>
                    <a:pt x="82" y="48"/>
                  </a:lnTo>
                  <a:lnTo>
                    <a:pt x="79" y="49"/>
                  </a:lnTo>
                  <a:lnTo>
                    <a:pt x="76" y="49"/>
                  </a:lnTo>
                  <a:lnTo>
                    <a:pt x="73" y="51"/>
                  </a:lnTo>
                  <a:lnTo>
                    <a:pt x="71" y="48"/>
                  </a:lnTo>
                  <a:lnTo>
                    <a:pt x="70" y="46"/>
                  </a:lnTo>
                  <a:lnTo>
                    <a:pt x="65" y="42"/>
                  </a:lnTo>
                  <a:lnTo>
                    <a:pt x="62" y="49"/>
                  </a:lnTo>
                  <a:lnTo>
                    <a:pt x="61" y="52"/>
                  </a:lnTo>
                  <a:lnTo>
                    <a:pt x="61" y="55"/>
                  </a:lnTo>
                  <a:lnTo>
                    <a:pt x="60" y="58"/>
                  </a:lnTo>
                  <a:lnTo>
                    <a:pt x="56" y="58"/>
                  </a:lnTo>
                  <a:lnTo>
                    <a:pt x="53" y="55"/>
                  </a:lnTo>
                  <a:lnTo>
                    <a:pt x="46" y="53"/>
                  </a:lnTo>
                  <a:lnTo>
                    <a:pt x="41" y="53"/>
                  </a:lnTo>
                  <a:lnTo>
                    <a:pt x="34" y="51"/>
                  </a:lnTo>
                  <a:lnTo>
                    <a:pt x="30" y="48"/>
                  </a:lnTo>
                  <a:lnTo>
                    <a:pt x="28" y="48"/>
                  </a:lnTo>
                  <a:lnTo>
                    <a:pt x="24" y="49"/>
                  </a:lnTo>
                  <a:lnTo>
                    <a:pt x="19" y="60"/>
                  </a:lnTo>
                  <a:lnTo>
                    <a:pt x="0" y="72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8" name="Freeform 36"/>
            <p:cNvSpPr>
              <a:spLocks/>
            </p:cNvSpPr>
            <p:nvPr/>
          </p:nvSpPr>
          <p:spPr bwMode="auto">
            <a:xfrm>
              <a:off x="3527425" y="3452813"/>
              <a:ext cx="692150" cy="760412"/>
            </a:xfrm>
            <a:custGeom>
              <a:avLst/>
              <a:gdLst>
                <a:gd name="T0" fmla="*/ 6946135 w 871"/>
                <a:gd name="T1" fmla="*/ 228856260 h 959"/>
                <a:gd name="T2" fmla="*/ 22101915 w 871"/>
                <a:gd name="T3" fmla="*/ 249603851 h 959"/>
                <a:gd name="T4" fmla="*/ 41046641 w 871"/>
                <a:gd name="T5" fmla="*/ 272237804 h 959"/>
                <a:gd name="T6" fmla="*/ 54307949 w 871"/>
                <a:gd name="T7" fmla="*/ 304302768 h 959"/>
                <a:gd name="T8" fmla="*/ 78936092 w 871"/>
                <a:gd name="T9" fmla="*/ 316248928 h 959"/>
                <a:gd name="T10" fmla="*/ 98511778 w 871"/>
                <a:gd name="T11" fmla="*/ 310589845 h 959"/>
                <a:gd name="T12" fmla="*/ 117456504 w 871"/>
                <a:gd name="T13" fmla="*/ 331338230 h 959"/>
                <a:gd name="T14" fmla="*/ 128191584 w 871"/>
                <a:gd name="T15" fmla="*/ 377863709 h 959"/>
                <a:gd name="T16" fmla="*/ 144610081 w 871"/>
                <a:gd name="T17" fmla="*/ 429419484 h 959"/>
                <a:gd name="T18" fmla="*/ 154714200 w 871"/>
                <a:gd name="T19" fmla="*/ 443879999 h 959"/>
                <a:gd name="T20" fmla="*/ 164818318 w 871"/>
                <a:gd name="T21" fmla="*/ 468400312 h 959"/>
                <a:gd name="T22" fmla="*/ 187551194 w 871"/>
                <a:gd name="T23" fmla="*/ 479088105 h 959"/>
                <a:gd name="T24" fmla="*/ 227335118 w 871"/>
                <a:gd name="T25" fmla="*/ 508638715 h 959"/>
                <a:gd name="T26" fmla="*/ 231124063 w 871"/>
                <a:gd name="T27" fmla="*/ 541961253 h 959"/>
                <a:gd name="T28" fmla="*/ 239964670 w 871"/>
                <a:gd name="T29" fmla="*/ 552020259 h 959"/>
                <a:gd name="T30" fmla="*/ 265855530 w 871"/>
                <a:gd name="T31" fmla="*/ 541961253 h 959"/>
                <a:gd name="T32" fmla="*/ 285432012 w 871"/>
                <a:gd name="T33" fmla="*/ 568367135 h 959"/>
                <a:gd name="T34" fmla="*/ 310060155 w 871"/>
                <a:gd name="T35" fmla="*/ 573397430 h 959"/>
                <a:gd name="T36" fmla="*/ 333424787 w 871"/>
                <a:gd name="T37" fmla="*/ 578426933 h 959"/>
                <a:gd name="T38" fmla="*/ 341002677 w 871"/>
                <a:gd name="T39" fmla="*/ 477831324 h 959"/>
                <a:gd name="T40" fmla="*/ 349212323 w 871"/>
                <a:gd name="T41" fmla="*/ 437592922 h 959"/>
                <a:gd name="T42" fmla="*/ 376997656 w 871"/>
                <a:gd name="T43" fmla="*/ 421874833 h 959"/>
                <a:gd name="T44" fmla="*/ 374471427 w 871"/>
                <a:gd name="T45" fmla="*/ 392324224 h 959"/>
                <a:gd name="T46" fmla="*/ 400994043 w 871"/>
                <a:gd name="T47" fmla="*/ 362774407 h 959"/>
                <a:gd name="T48" fmla="*/ 427516659 w 871"/>
                <a:gd name="T49" fmla="*/ 335110159 h 959"/>
                <a:gd name="T50" fmla="*/ 455301992 w 871"/>
                <a:gd name="T51" fmla="*/ 323164792 h 959"/>
                <a:gd name="T52" fmla="*/ 507083712 w 871"/>
                <a:gd name="T53" fmla="*/ 331338230 h 959"/>
                <a:gd name="T54" fmla="*/ 538657990 w 871"/>
                <a:gd name="T55" fmla="*/ 325051153 h 959"/>
                <a:gd name="T56" fmla="*/ 547498597 w 871"/>
                <a:gd name="T57" fmla="*/ 282297603 h 959"/>
                <a:gd name="T58" fmla="*/ 520976775 w 871"/>
                <a:gd name="T59" fmla="*/ 233885763 h 959"/>
                <a:gd name="T60" fmla="*/ 507083712 w 871"/>
                <a:gd name="T61" fmla="*/ 270351443 h 959"/>
                <a:gd name="T62" fmla="*/ 484350041 w 871"/>
                <a:gd name="T63" fmla="*/ 268465875 h 959"/>
                <a:gd name="T64" fmla="*/ 456564708 w 871"/>
                <a:gd name="T65" fmla="*/ 268465875 h 959"/>
                <a:gd name="T66" fmla="*/ 436989022 w 871"/>
                <a:gd name="T67" fmla="*/ 236400911 h 959"/>
                <a:gd name="T68" fmla="*/ 420569730 w 871"/>
                <a:gd name="T69" fmla="*/ 215652526 h 959"/>
                <a:gd name="T70" fmla="*/ 432568321 w 871"/>
                <a:gd name="T71" fmla="*/ 202449585 h 959"/>
                <a:gd name="T72" fmla="*/ 426253147 w 871"/>
                <a:gd name="T73" fmla="*/ 184216349 h 959"/>
                <a:gd name="T74" fmla="*/ 439514455 w 871"/>
                <a:gd name="T75" fmla="*/ 150893810 h 959"/>
                <a:gd name="T76" fmla="*/ 440146211 w 871"/>
                <a:gd name="T77" fmla="*/ 106883479 h 959"/>
                <a:gd name="T78" fmla="*/ 424990431 w 871"/>
                <a:gd name="T79" fmla="*/ 40867189 h 959"/>
                <a:gd name="T80" fmla="*/ 350475040 w 871"/>
                <a:gd name="T81" fmla="*/ 23262740 h 959"/>
                <a:gd name="T82" fmla="*/ 300587792 w 871"/>
                <a:gd name="T83" fmla="*/ 67902651 h 959"/>
                <a:gd name="T84" fmla="*/ 269013514 w 871"/>
                <a:gd name="T85" fmla="*/ 49669414 h 959"/>
                <a:gd name="T86" fmla="*/ 233018536 w 871"/>
                <a:gd name="T87" fmla="*/ 48411840 h 959"/>
                <a:gd name="T88" fmla="*/ 210284865 w 871"/>
                <a:gd name="T89" fmla="*/ 52184562 h 959"/>
                <a:gd name="T90" fmla="*/ 171764453 w 871"/>
                <a:gd name="T91" fmla="*/ 23891527 h 959"/>
                <a:gd name="T92" fmla="*/ 140190175 w 871"/>
                <a:gd name="T93" fmla="*/ 0 h 959"/>
                <a:gd name="T94" fmla="*/ 125034394 w 871"/>
                <a:gd name="T95" fmla="*/ 11317373 h 959"/>
                <a:gd name="T96" fmla="*/ 111773086 w 871"/>
                <a:gd name="T97" fmla="*/ 42753550 h 959"/>
                <a:gd name="T98" fmla="*/ 87776699 w 871"/>
                <a:gd name="T99" fmla="*/ 54070130 h 959"/>
                <a:gd name="T100" fmla="*/ 86513982 w 871"/>
                <a:gd name="T101" fmla="*/ 76704083 h 959"/>
                <a:gd name="T102" fmla="*/ 73252674 w 871"/>
                <a:gd name="T103" fmla="*/ 99338828 h 959"/>
                <a:gd name="T104" fmla="*/ 37889451 w 871"/>
                <a:gd name="T105" fmla="*/ 144606733 h 959"/>
                <a:gd name="T106" fmla="*/ 5683418 w 871"/>
                <a:gd name="T107" fmla="*/ 147750668 h 959"/>
                <a:gd name="T108" fmla="*/ 631756 w 871"/>
                <a:gd name="T109" fmla="*/ 181701201 h 95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1"/>
                <a:gd name="T166" fmla="*/ 0 h 959"/>
                <a:gd name="T167" fmla="*/ 871 w 871"/>
                <a:gd name="T168" fmla="*/ 959 h 95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1" h="959">
                  <a:moveTo>
                    <a:pt x="0" y="307"/>
                  </a:moveTo>
                  <a:lnTo>
                    <a:pt x="2" y="324"/>
                  </a:lnTo>
                  <a:lnTo>
                    <a:pt x="3" y="343"/>
                  </a:lnTo>
                  <a:lnTo>
                    <a:pt x="11" y="364"/>
                  </a:lnTo>
                  <a:lnTo>
                    <a:pt x="18" y="384"/>
                  </a:lnTo>
                  <a:lnTo>
                    <a:pt x="27" y="394"/>
                  </a:lnTo>
                  <a:lnTo>
                    <a:pt x="31" y="397"/>
                  </a:lnTo>
                  <a:lnTo>
                    <a:pt x="35" y="397"/>
                  </a:lnTo>
                  <a:lnTo>
                    <a:pt x="42" y="398"/>
                  </a:lnTo>
                  <a:lnTo>
                    <a:pt x="51" y="412"/>
                  </a:lnTo>
                  <a:lnTo>
                    <a:pt x="59" y="420"/>
                  </a:lnTo>
                  <a:lnTo>
                    <a:pt x="65" y="433"/>
                  </a:lnTo>
                  <a:lnTo>
                    <a:pt x="73" y="448"/>
                  </a:lnTo>
                  <a:lnTo>
                    <a:pt x="80" y="463"/>
                  </a:lnTo>
                  <a:lnTo>
                    <a:pt x="81" y="470"/>
                  </a:lnTo>
                  <a:lnTo>
                    <a:pt x="86" y="484"/>
                  </a:lnTo>
                  <a:lnTo>
                    <a:pt x="96" y="503"/>
                  </a:lnTo>
                  <a:lnTo>
                    <a:pt x="105" y="509"/>
                  </a:lnTo>
                  <a:lnTo>
                    <a:pt x="116" y="508"/>
                  </a:lnTo>
                  <a:lnTo>
                    <a:pt x="125" y="503"/>
                  </a:lnTo>
                  <a:lnTo>
                    <a:pt x="133" y="503"/>
                  </a:lnTo>
                  <a:lnTo>
                    <a:pt x="137" y="500"/>
                  </a:lnTo>
                  <a:lnTo>
                    <a:pt x="147" y="498"/>
                  </a:lnTo>
                  <a:lnTo>
                    <a:pt x="156" y="494"/>
                  </a:lnTo>
                  <a:lnTo>
                    <a:pt x="165" y="503"/>
                  </a:lnTo>
                  <a:lnTo>
                    <a:pt x="169" y="505"/>
                  </a:lnTo>
                  <a:lnTo>
                    <a:pt x="180" y="523"/>
                  </a:lnTo>
                  <a:lnTo>
                    <a:pt x="186" y="527"/>
                  </a:lnTo>
                  <a:lnTo>
                    <a:pt x="203" y="564"/>
                  </a:lnTo>
                  <a:lnTo>
                    <a:pt x="201" y="575"/>
                  </a:lnTo>
                  <a:lnTo>
                    <a:pt x="206" y="587"/>
                  </a:lnTo>
                  <a:lnTo>
                    <a:pt x="203" y="601"/>
                  </a:lnTo>
                  <a:lnTo>
                    <a:pt x="210" y="626"/>
                  </a:lnTo>
                  <a:lnTo>
                    <a:pt x="216" y="638"/>
                  </a:lnTo>
                  <a:lnTo>
                    <a:pt x="227" y="656"/>
                  </a:lnTo>
                  <a:lnTo>
                    <a:pt x="229" y="683"/>
                  </a:lnTo>
                  <a:lnTo>
                    <a:pt x="233" y="688"/>
                  </a:lnTo>
                  <a:lnTo>
                    <a:pt x="239" y="695"/>
                  </a:lnTo>
                  <a:lnTo>
                    <a:pt x="242" y="702"/>
                  </a:lnTo>
                  <a:lnTo>
                    <a:pt x="245" y="706"/>
                  </a:lnTo>
                  <a:lnTo>
                    <a:pt x="253" y="722"/>
                  </a:lnTo>
                  <a:lnTo>
                    <a:pt x="255" y="733"/>
                  </a:lnTo>
                  <a:lnTo>
                    <a:pt x="264" y="742"/>
                  </a:lnTo>
                  <a:lnTo>
                    <a:pt x="261" y="745"/>
                  </a:lnTo>
                  <a:lnTo>
                    <a:pt x="265" y="749"/>
                  </a:lnTo>
                  <a:lnTo>
                    <a:pt x="276" y="748"/>
                  </a:lnTo>
                  <a:lnTo>
                    <a:pt x="290" y="750"/>
                  </a:lnTo>
                  <a:lnTo>
                    <a:pt x="297" y="762"/>
                  </a:lnTo>
                  <a:lnTo>
                    <a:pt x="297" y="774"/>
                  </a:lnTo>
                  <a:lnTo>
                    <a:pt x="295" y="794"/>
                  </a:lnTo>
                  <a:lnTo>
                    <a:pt x="297" y="798"/>
                  </a:lnTo>
                  <a:lnTo>
                    <a:pt x="360" y="809"/>
                  </a:lnTo>
                  <a:lnTo>
                    <a:pt x="359" y="816"/>
                  </a:lnTo>
                  <a:lnTo>
                    <a:pt x="361" y="820"/>
                  </a:lnTo>
                  <a:lnTo>
                    <a:pt x="375" y="852"/>
                  </a:lnTo>
                  <a:lnTo>
                    <a:pt x="366" y="862"/>
                  </a:lnTo>
                  <a:lnTo>
                    <a:pt x="361" y="868"/>
                  </a:lnTo>
                  <a:lnTo>
                    <a:pt x="362" y="874"/>
                  </a:lnTo>
                  <a:lnTo>
                    <a:pt x="366" y="877"/>
                  </a:lnTo>
                  <a:lnTo>
                    <a:pt x="380" y="878"/>
                  </a:lnTo>
                  <a:lnTo>
                    <a:pt x="386" y="877"/>
                  </a:lnTo>
                  <a:lnTo>
                    <a:pt x="392" y="872"/>
                  </a:lnTo>
                  <a:lnTo>
                    <a:pt x="407" y="864"/>
                  </a:lnTo>
                  <a:lnTo>
                    <a:pt x="421" y="862"/>
                  </a:lnTo>
                  <a:lnTo>
                    <a:pt x="432" y="864"/>
                  </a:lnTo>
                  <a:lnTo>
                    <a:pt x="441" y="874"/>
                  </a:lnTo>
                  <a:lnTo>
                    <a:pt x="445" y="895"/>
                  </a:lnTo>
                  <a:lnTo>
                    <a:pt x="452" y="904"/>
                  </a:lnTo>
                  <a:lnTo>
                    <a:pt x="461" y="908"/>
                  </a:lnTo>
                  <a:lnTo>
                    <a:pt x="474" y="913"/>
                  </a:lnTo>
                  <a:lnTo>
                    <a:pt x="488" y="913"/>
                  </a:lnTo>
                  <a:lnTo>
                    <a:pt x="491" y="912"/>
                  </a:lnTo>
                  <a:lnTo>
                    <a:pt x="494" y="913"/>
                  </a:lnTo>
                  <a:lnTo>
                    <a:pt x="499" y="911"/>
                  </a:lnTo>
                  <a:lnTo>
                    <a:pt x="507" y="959"/>
                  </a:lnTo>
                  <a:lnTo>
                    <a:pt x="528" y="920"/>
                  </a:lnTo>
                  <a:lnTo>
                    <a:pt x="525" y="895"/>
                  </a:lnTo>
                  <a:lnTo>
                    <a:pt x="524" y="877"/>
                  </a:lnTo>
                  <a:lnTo>
                    <a:pt x="530" y="772"/>
                  </a:lnTo>
                  <a:lnTo>
                    <a:pt x="540" y="760"/>
                  </a:lnTo>
                  <a:lnTo>
                    <a:pt x="541" y="752"/>
                  </a:lnTo>
                  <a:lnTo>
                    <a:pt x="540" y="727"/>
                  </a:lnTo>
                  <a:lnTo>
                    <a:pt x="549" y="700"/>
                  </a:lnTo>
                  <a:lnTo>
                    <a:pt x="553" y="696"/>
                  </a:lnTo>
                  <a:lnTo>
                    <a:pt x="571" y="688"/>
                  </a:lnTo>
                  <a:lnTo>
                    <a:pt x="571" y="677"/>
                  </a:lnTo>
                  <a:lnTo>
                    <a:pt x="577" y="672"/>
                  </a:lnTo>
                  <a:lnTo>
                    <a:pt x="597" y="671"/>
                  </a:lnTo>
                  <a:lnTo>
                    <a:pt x="600" y="667"/>
                  </a:lnTo>
                  <a:lnTo>
                    <a:pt x="593" y="656"/>
                  </a:lnTo>
                  <a:lnTo>
                    <a:pt x="596" y="641"/>
                  </a:lnTo>
                  <a:lnTo>
                    <a:pt x="593" y="624"/>
                  </a:lnTo>
                  <a:lnTo>
                    <a:pt x="602" y="594"/>
                  </a:lnTo>
                  <a:lnTo>
                    <a:pt x="607" y="588"/>
                  </a:lnTo>
                  <a:lnTo>
                    <a:pt x="629" y="578"/>
                  </a:lnTo>
                  <a:lnTo>
                    <a:pt x="635" y="577"/>
                  </a:lnTo>
                  <a:lnTo>
                    <a:pt x="645" y="560"/>
                  </a:lnTo>
                  <a:lnTo>
                    <a:pt x="649" y="554"/>
                  </a:lnTo>
                  <a:lnTo>
                    <a:pt x="672" y="538"/>
                  </a:lnTo>
                  <a:lnTo>
                    <a:pt x="677" y="533"/>
                  </a:lnTo>
                  <a:lnTo>
                    <a:pt x="677" y="520"/>
                  </a:lnTo>
                  <a:lnTo>
                    <a:pt x="681" y="514"/>
                  </a:lnTo>
                  <a:lnTo>
                    <a:pt x="702" y="510"/>
                  </a:lnTo>
                  <a:lnTo>
                    <a:pt x="721" y="514"/>
                  </a:lnTo>
                  <a:lnTo>
                    <a:pt x="740" y="515"/>
                  </a:lnTo>
                  <a:lnTo>
                    <a:pt x="759" y="521"/>
                  </a:lnTo>
                  <a:lnTo>
                    <a:pt x="789" y="521"/>
                  </a:lnTo>
                  <a:lnTo>
                    <a:pt x="803" y="527"/>
                  </a:lnTo>
                  <a:lnTo>
                    <a:pt x="812" y="522"/>
                  </a:lnTo>
                  <a:lnTo>
                    <a:pt x="825" y="520"/>
                  </a:lnTo>
                  <a:lnTo>
                    <a:pt x="837" y="521"/>
                  </a:lnTo>
                  <a:lnTo>
                    <a:pt x="853" y="517"/>
                  </a:lnTo>
                  <a:lnTo>
                    <a:pt x="863" y="520"/>
                  </a:lnTo>
                  <a:lnTo>
                    <a:pt x="870" y="515"/>
                  </a:lnTo>
                  <a:lnTo>
                    <a:pt x="871" y="486"/>
                  </a:lnTo>
                  <a:lnTo>
                    <a:pt x="867" y="449"/>
                  </a:lnTo>
                  <a:lnTo>
                    <a:pt x="855" y="421"/>
                  </a:lnTo>
                  <a:lnTo>
                    <a:pt x="843" y="408"/>
                  </a:lnTo>
                  <a:lnTo>
                    <a:pt x="833" y="384"/>
                  </a:lnTo>
                  <a:lnTo>
                    <a:pt x="825" y="372"/>
                  </a:lnTo>
                  <a:lnTo>
                    <a:pt x="817" y="390"/>
                  </a:lnTo>
                  <a:lnTo>
                    <a:pt x="817" y="396"/>
                  </a:lnTo>
                  <a:lnTo>
                    <a:pt x="812" y="412"/>
                  </a:lnTo>
                  <a:lnTo>
                    <a:pt x="803" y="430"/>
                  </a:lnTo>
                  <a:lnTo>
                    <a:pt x="793" y="444"/>
                  </a:lnTo>
                  <a:lnTo>
                    <a:pt x="788" y="436"/>
                  </a:lnTo>
                  <a:lnTo>
                    <a:pt x="780" y="434"/>
                  </a:lnTo>
                  <a:lnTo>
                    <a:pt x="767" y="427"/>
                  </a:lnTo>
                  <a:lnTo>
                    <a:pt x="753" y="431"/>
                  </a:lnTo>
                  <a:lnTo>
                    <a:pt x="729" y="431"/>
                  </a:lnTo>
                  <a:lnTo>
                    <a:pt x="725" y="432"/>
                  </a:lnTo>
                  <a:lnTo>
                    <a:pt x="723" y="427"/>
                  </a:lnTo>
                  <a:lnTo>
                    <a:pt x="710" y="415"/>
                  </a:lnTo>
                  <a:lnTo>
                    <a:pt x="702" y="394"/>
                  </a:lnTo>
                  <a:lnTo>
                    <a:pt x="697" y="386"/>
                  </a:lnTo>
                  <a:lnTo>
                    <a:pt x="692" y="376"/>
                  </a:lnTo>
                  <a:lnTo>
                    <a:pt x="684" y="367"/>
                  </a:lnTo>
                  <a:lnTo>
                    <a:pt x="674" y="355"/>
                  </a:lnTo>
                  <a:lnTo>
                    <a:pt x="668" y="349"/>
                  </a:lnTo>
                  <a:lnTo>
                    <a:pt x="666" y="343"/>
                  </a:lnTo>
                  <a:lnTo>
                    <a:pt x="666" y="336"/>
                  </a:lnTo>
                  <a:lnTo>
                    <a:pt x="668" y="329"/>
                  </a:lnTo>
                  <a:lnTo>
                    <a:pt x="674" y="322"/>
                  </a:lnTo>
                  <a:lnTo>
                    <a:pt x="685" y="322"/>
                  </a:lnTo>
                  <a:lnTo>
                    <a:pt x="690" y="322"/>
                  </a:lnTo>
                  <a:lnTo>
                    <a:pt x="690" y="314"/>
                  </a:lnTo>
                  <a:lnTo>
                    <a:pt x="678" y="294"/>
                  </a:lnTo>
                  <a:lnTo>
                    <a:pt x="675" y="293"/>
                  </a:lnTo>
                  <a:lnTo>
                    <a:pt x="673" y="288"/>
                  </a:lnTo>
                  <a:lnTo>
                    <a:pt x="673" y="282"/>
                  </a:lnTo>
                  <a:lnTo>
                    <a:pt x="689" y="250"/>
                  </a:lnTo>
                  <a:lnTo>
                    <a:pt x="696" y="240"/>
                  </a:lnTo>
                  <a:lnTo>
                    <a:pt x="702" y="228"/>
                  </a:lnTo>
                  <a:lnTo>
                    <a:pt x="698" y="215"/>
                  </a:lnTo>
                  <a:lnTo>
                    <a:pt x="698" y="200"/>
                  </a:lnTo>
                  <a:lnTo>
                    <a:pt x="697" y="170"/>
                  </a:lnTo>
                  <a:lnTo>
                    <a:pt x="709" y="138"/>
                  </a:lnTo>
                  <a:lnTo>
                    <a:pt x="710" y="122"/>
                  </a:lnTo>
                  <a:lnTo>
                    <a:pt x="683" y="80"/>
                  </a:lnTo>
                  <a:lnTo>
                    <a:pt x="673" y="65"/>
                  </a:lnTo>
                  <a:lnTo>
                    <a:pt x="656" y="52"/>
                  </a:lnTo>
                  <a:lnTo>
                    <a:pt x="605" y="42"/>
                  </a:lnTo>
                  <a:lnTo>
                    <a:pt x="591" y="36"/>
                  </a:lnTo>
                  <a:lnTo>
                    <a:pt x="555" y="37"/>
                  </a:lnTo>
                  <a:lnTo>
                    <a:pt x="533" y="55"/>
                  </a:lnTo>
                  <a:lnTo>
                    <a:pt x="521" y="77"/>
                  </a:lnTo>
                  <a:lnTo>
                    <a:pt x="495" y="110"/>
                  </a:lnTo>
                  <a:lnTo>
                    <a:pt x="476" y="108"/>
                  </a:lnTo>
                  <a:lnTo>
                    <a:pt x="467" y="90"/>
                  </a:lnTo>
                  <a:lnTo>
                    <a:pt x="464" y="89"/>
                  </a:lnTo>
                  <a:lnTo>
                    <a:pt x="433" y="78"/>
                  </a:lnTo>
                  <a:lnTo>
                    <a:pt x="426" y="79"/>
                  </a:lnTo>
                  <a:lnTo>
                    <a:pt x="403" y="89"/>
                  </a:lnTo>
                  <a:lnTo>
                    <a:pt x="390" y="79"/>
                  </a:lnTo>
                  <a:lnTo>
                    <a:pt x="383" y="76"/>
                  </a:lnTo>
                  <a:lnTo>
                    <a:pt x="369" y="77"/>
                  </a:lnTo>
                  <a:lnTo>
                    <a:pt x="363" y="79"/>
                  </a:lnTo>
                  <a:lnTo>
                    <a:pt x="359" y="86"/>
                  </a:lnTo>
                  <a:lnTo>
                    <a:pt x="354" y="90"/>
                  </a:lnTo>
                  <a:lnTo>
                    <a:pt x="333" y="83"/>
                  </a:lnTo>
                  <a:lnTo>
                    <a:pt x="321" y="74"/>
                  </a:lnTo>
                  <a:lnTo>
                    <a:pt x="293" y="44"/>
                  </a:lnTo>
                  <a:lnTo>
                    <a:pt x="285" y="40"/>
                  </a:lnTo>
                  <a:lnTo>
                    <a:pt x="272" y="38"/>
                  </a:lnTo>
                  <a:lnTo>
                    <a:pt x="252" y="28"/>
                  </a:lnTo>
                  <a:lnTo>
                    <a:pt x="247" y="24"/>
                  </a:lnTo>
                  <a:lnTo>
                    <a:pt x="229" y="2"/>
                  </a:lnTo>
                  <a:lnTo>
                    <a:pt x="222" y="0"/>
                  </a:lnTo>
                  <a:lnTo>
                    <a:pt x="218" y="0"/>
                  </a:lnTo>
                  <a:lnTo>
                    <a:pt x="212" y="5"/>
                  </a:lnTo>
                  <a:lnTo>
                    <a:pt x="206" y="18"/>
                  </a:lnTo>
                  <a:lnTo>
                    <a:pt x="198" y="18"/>
                  </a:lnTo>
                  <a:lnTo>
                    <a:pt x="195" y="12"/>
                  </a:lnTo>
                  <a:lnTo>
                    <a:pt x="187" y="24"/>
                  </a:lnTo>
                  <a:lnTo>
                    <a:pt x="174" y="38"/>
                  </a:lnTo>
                  <a:lnTo>
                    <a:pt x="177" y="68"/>
                  </a:lnTo>
                  <a:lnTo>
                    <a:pt x="175" y="80"/>
                  </a:lnTo>
                  <a:lnTo>
                    <a:pt x="164" y="84"/>
                  </a:lnTo>
                  <a:lnTo>
                    <a:pt x="149" y="86"/>
                  </a:lnTo>
                  <a:lnTo>
                    <a:pt x="139" y="86"/>
                  </a:lnTo>
                  <a:lnTo>
                    <a:pt x="134" y="88"/>
                  </a:lnTo>
                  <a:lnTo>
                    <a:pt x="131" y="91"/>
                  </a:lnTo>
                  <a:lnTo>
                    <a:pt x="131" y="100"/>
                  </a:lnTo>
                  <a:lnTo>
                    <a:pt x="137" y="122"/>
                  </a:lnTo>
                  <a:lnTo>
                    <a:pt x="137" y="132"/>
                  </a:lnTo>
                  <a:lnTo>
                    <a:pt x="132" y="140"/>
                  </a:lnTo>
                  <a:lnTo>
                    <a:pt x="120" y="150"/>
                  </a:lnTo>
                  <a:lnTo>
                    <a:pt x="116" y="158"/>
                  </a:lnTo>
                  <a:lnTo>
                    <a:pt x="111" y="215"/>
                  </a:lnTo>
                  <a:lnTo>
                    <a:pt x="95" y="224"/>
                  </a:lnTo>
                  <a:lnTo>
                    <a:pt x="69" y="230"/>
                  </a:lnTo>
                  <a:lnTo>
                    <a:pt x="60" y="230"/>
                  </a:lnTo>
                  <a:lnTo>
                    <a:pt x="54" y="227"/>
                  </a:lnTo>
                  <a:lnTo>
                    <a:pt x="39" y="229"/>
                  </a:lnTo>
                  <a:lnTo>
                    <a:pt x="9" y="227"/>
                  </a:lnTo>
                  <a:lnTo>
                    <a:pt x="9" y="235"/>
                  </a:lnTo>
                  <a:lnTo>
                    <a:pt x="9" y="251"/>
                  </a:lnTo>
                  <a:lnTo>
                    <a:pt x="8" y="269"/>
                  </a:lnTo>
                  <a:lnTo>
                    <a:pt x="5" y="277"/>
                  </a:lnTo>
                  <a:lnTo>
                    <a:pt x="1" y="289"/>
                  </a:lnTo>
                  <a:lnTo>
                    <a:pt x="0" y="307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9" name="Freeform 37"/>
            <p:cNvSpPr>
              <a:spLocks/>
            </p:cNvSpPr>
            <p:nvPr/>
          </p:nvSpPr>
          <p:spPr bwMode="auto">
            <a:xfrm>
              <a:off x="3711575" y="4130675"/>
              <a:ext cx="671513" cy="611188"/>
            </a:xfrm>
            <a:custGeom>
              <a:avLst/>
              <a:gdLst>
                <a:gd name="T0" fmla="*/ 14456953 w 847"/>
                <a:gd name="T1" fmla="*/ 331566323 h 772"/>
                <a:gd name="T2" fmla="*/ 47770182 w 847"/>
                <a:gd name="T3" fmla="*/ 386722873 h 772"/>
                <a:gd name="T4" fmla="*/ 60969733 w 847"/>
                <a:gd name="T5" fmla="*/ 398632331 h 772"/>
                <a:gd name="T6" fmla="*/ 69769170 w 847"/>
                <a:gd name="T7" fmla="*/ 408033701 h 772"/>
                <a:gd name="T8" fmla="*/ 71655273 w 847"/>
                <a:gd name="T9" fmla="*/ 416808840 h 772"/>
                <a:gd name="T10" fmla="*/ 76054595 w 847"/>
                <a:gd name="T11" fmla="*/ 426837232 h 772"/>
                <a:gd name="T12" fmla="*/ 93654261 w 847"/>
                <a:gd name="T13" fmla="*/ 441879424 h 772"/>
                <a:gd name="T14" fmla="*/ 103711100 w 847"/>
                <a:gd name="T15" fmla="*/ 439999150 h 772"/>
                <a:gd name="T16" fmla="*/ 108111215 w 847"/>
                <a:gd name="T17" fmla="*/ 448147267 h 772"/>
                <a:gd name="T18" fmla="*/ 115025341 w 847"/>
                <a:gd name="T19" fmla="*/ 450028333 h 772"/>
                <a:gd name="T20" fmla="*/ 126339582 w 847"/>
                <a:gd name="T21" fmla="*/ 458176451 h 772"/>
                <a:gd name="T22" fmla="*/ 157138006 w 847"/>
                <a:gd name="T23" fmla="*/ 446894015 h 772"/>
                <a:gd name="T24" fmla="*/ 172223661 w 847"/>
                <a:gd name="T25" fmla="*/ 439999150 h 772"/>
                <a:gd name="T26" fmla="*/ 187937223 w 847"/>
                <a:gd name="T27" fmla="*/ 442506446 h 772"/>
                <a:gd name="T28" fmla="*/ 211822314 w 847"/>
                <a:gd name="T29" fmla="*/ 421822640 h 772"/>
                <a:gd name="T30" fmla="*/ 251420968 w 847"/>
                <a:gd name="T31" fmla="*/ 423702914 h 772"/>
                <a:gd name="T32" fmla="*/ 267764025 w 847"/>
                <a:gd name="T33" fmla="*/ 415554796 h 772"/>
                <a:gd name="T34" fmla="*/ 282220186 w 847"/>
                <a:gd name="T35" fmla="*/ 454415111 h 772"/>
                <a:gd name="T36" fmla="*/ 299819852 w 847"/>
                <a:gd name="T37" fmla="*/ 481366760 h 772"/>
                <a:gd name="T38" fmla="*/ 328105057 w 847"/>
                <a:gd name="T39" fmla="*/ 476352960 h 772"/>
                <a:gd name="T40" fmla="*/ 373360435 w 847"/>
                <a:gd name="T41" fmla="*/ 448147267 h 772"/>
                <a:gd name="T42" fmla="*/ 391588802 w 847"/>
                <a:gd name="T43" fmla="*/ 439999150 h 772"/>
                <a:gd name="T44" fmla="*/ 402274342 w 847"/>
                <a:gd name="T45" fmla="*/ 420569388 h 772"/>
                <a:gd name="T46" fmla="*/ 382788573 w 847"/>
                <a:gd name="T47" fmla="*/ 418062092 h 772"/>
                <a:gd name="T48" fmla="*/ 375246538 w 847"/>
                <a:gd name="T49" fmla="*/ 390484213 h 772"/>
                <a:gd name="T50" fmla="*/ 369589022 w 847"/>
                <a:gd name="T51" fmla="*/ 359144994 h 772"/>
                <a:gd name="T52" fmla="*/ 343189919 w 847"/>
                <a:gd name="T53" fmla="*/ 348489581 h 772"/>
                <a:gd name="T54" fmla="*/ 358903482 w 847"/>
                <a:gd name="T55" fmla="*/ 330313071 h 772"/>
                <a:gd name="T56" fmla="*/ 368332412 w 847"/>
                <a:gd name="T57" fmla="*/ 333446597 h 772"/>
                <a:gd name="T58" fmla="*/ 390331400 w 847"/>
                <a:gd name="T59" fmla="*/ 321537932 h 772"/>
                <a:gd name="T60" fmla="*/ 417359204 w 847"/>
                <a:gd name="T61" fmla="*/ 312136562 h 772"/>
                <a:gd name="T62" fmla="*/ 473928822 w 847"/>
                <a:gd name="T63" fmla="*/ 286438165 h 772"/>
                <a:gd name="T64" fmla="*/ 478957638 w 847"/>
                <a:gd name="T65" fmla="*/ 229401341 h 772"/>
                <a:gd name="T66" fmla="*/ 502214028 w 847"/>
                <a:gd name="T67" fmla="*/ 191168048 h 772"/>
                <a:gd name="T68" fmla="*/ 516042281 w 847"/>
                <a:gd name="T69" fmla="*/ 148547185 h 772"/>
                <a:gd name="T70" fmla="*/ 524213016 w 847"/>
                <a:gd name="T71" fmla="*/ 117207966 h 772"/>
                <a:gd name="T72" fmla="*/ 482729052 w 847"/>
                <a:gd name="T73" fmla="*/ 101537961 h 772"/>
                <a:gd name="T74" fmla="*/ 418616606 w 847"/>
                <a:gd name="T75" fmla="*/ 144785845 h 772"/>
                <a:gd name="T76" fmla="*/ 372103826 w 847"/>
                <a:gd name="T77" fmla="*/ 156068281 h 772"/>
                <a:gd name="T78" fmla="*/ 377760550 w 847"/>
                <a:gd name="T79" fmla="*/ 178632360 h 772"/>
                <a:gd name="T80" fmla="*/ 330619069 w 847"/>
                <a:gd name="T81" fmla="*/ 198689144 h 772"/>
                <a:gd name="T82" fmla="*/ 262106508 w 847"/>
                <a:gd name="T83" fmla="*/ 206210239 h 772"/>
                <a:gd name="T84" fmla="*/ 243250233 w 847"/>
                <a:gd name="T85" fmla="*/ 167976947 h 772"/>
                <a:gd name="T86" fmla="*/ 258335094 w 847"/>
                <a:gd name="T87" fmla="*/ 149800437 h 772"/>
                <a:gd name="T88" fmla="*/ 263363910 w 847"/>
                <a:gd name="T89" fmla="*/ 122848788 h 772"/>
                <a:gd name="T90" fmla="*/ 305476576 w 847"/>
                <a:gd name="T91" fmla="*/ 107805805 h 772"/>
                <a:gd name="T92" fmla="*/ 314905506 w 847"/>
                <a:gd name="T93" fmla="*/ 48261685 h 772"/>
                <a:gd name="T94" fmla="*/ 280963576 w 847"/>
                <a:gd name="T95" fmla="*/ 73333060 h 772"/>
                <a:gd name="T96" fmla="*/ 265877922 w 847"/>
                <a:gd name="T97" fmla="*/ 33219493 h 772"/>
                <a:gd name="T98" fmla="*/ 240107520 w 847"/>
                <a:gd name="T99" fmla="*/ 55783572 h 772"/>
                <a:gd name="T100" fmla="*/ 243250233 w 847"/>
                <a:gd name="T101" fmla="*/ 21937057 h 772"/>
                <a:gd name="T102" fmla="*/ 187308522 w 847"/>
                <a:gd name="T103" fmla="*/ 41994632 h 772"/>
                <a:gd name="T104" fmla="*/ 215593728 w 847"/>
                <a:gd name="T105" fmla="*/ 189914004 h 772"/>
                <a:gd name="T106" fmla="*/ 183537901 w 847"/>
                <a:gd name="T107" fmla="*/ 240683776 h 772"/>
                <a:gd name="T108" fmla="*/ 137653030 w 847"/>
                <a:gd name="T109" fmla="*/ 230028362 h 772"/>
                <a:gd name="T110" fmla="*/ 81083411 w 847"/>
                <a:gd name="T111" fmla="*/ 227521067 h 772"/>
                <a:gd name="T112" fmla="*/ 52798205 w 847"/>
                <a:gd name="T113" fmla="*/ 258233264 h 772"/>
                <a:gd name="T114" fmla="*/ 35827240 w 847"/>
                <a:gd name="T115" fmla="*/ 277663817 h 772"/>
                <a:gd name="T116" fmla="*/ 20742379 w 847"/>
                <a:gd name="T117" fmla="*/ 280170321 h 772"/>
                <a:gd name="T118" fmla="*/ 6285425 w 847"/>
                <a:gd name="T119" fmla="*/ 285184913 h 7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7"/>
                <a:gd name="T181" fmla="*/ 0 h 772"/>
                <a:gd name="T182" fmla="*/ 847 w 847"/>
                <a:gd name="T183" fmla="*/ 772 h 7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7" h="772">
                  <a:moveTo>
                    <a:pt x="0" y="463"/>
                  </a:moveTo>
                  <a:lnTo>
                    <a:pt x="4" y="478"/>
                  </a:lnTo>
                  <a:lnTo>
                    <a:pt x="10" y="485"/>
                  </a:lnTo>
                  <a:lnTo>
                    <a:pt x="18" y="493"/>
                  </a:lnTo>
                  <a:lnTo>
                    <a:pt x="19" y="499"/>
                  </a:lnTo>
                  <a:lnTo>
                    <a:pt x="21" y="498"/>
                  </a:lnTo>
                  <a:lnTo>
                    <a:pt x="23" y="501"/>
                  </a:lnTo>
                  <a:lnTo>
                    <a:pt x="23" y="529"/>
                  </a:lnTo>
                  <a:lnTo>
                    <a:pt x="31" y="547"/>
                  </a:lnTo>
                  <a:lnTo>
                    <a:pt x="45" y="568"/>
                  </a:lnTo>
                  <a:lnTo>
                    <a:pt x="57" y="585"/>
                  </a:lnTo>
                  <a:lnTo>
                    <a:pt x="63" y="593"/>
                  </a:lnTo>
                  <a:lnTo>
                    <a:pt x="65" y="600"/>
                  </a:lnTo>
                  <a:lnTo>
                    <a:pt x="67" y="601"/>
                  </a:lnTo>
                  <a:lnTo>
                    <a:pt x="76" y="612"/>
                  </a:lnTo>
                  <a:lnTo>
                    <a:pt x="76" y="617"/>
                  </a:lnTo>
                  <a:lnTo>
                    <a:pt x="78" y="618"/>
                  </a:lnTo>
                  <a:lnTo>
                    <a:pt x="88" y="629"/>
                  </a:lnTo>
                  <a:lnTo>
                    <a:pt x="88" y="631"/>
                  </a:lnTo>
                  <a:lnTo>
                    <a:pt x="89" y="630"/>
                  </a:lnTo>
                  <a:lnTo>
                    <a:pt x="94" y="631"/>
                  </a:lnTo>
                  <a:lnTo>
                    <a:pt x="96" y="634"/>
                  </a:lnTo>
                  <a:lnTo>
                    <a:pt x="99" y="635"/>
                  </a:lnTo>
                  <a:lnTo>
                    <a:pt x="97" y="636"/>
                  </a:lnTo>
                  <a:lnTo>
                    <a:pt x="99" y="637"/>
                  </a:lnTo>
                  <a:lnTo>
                    <a:pt x="97" y="637"/>
                  </a:lnTo>
                  <a:lnTo>
                    <a:pt x="101" y="640"/>
                  </a:lnTo>
                  <a:lnTo>
                    <a:pt x="102" y="639"/>
                  </a:lnTo>
                  <a:lnTo>
                    <a:pt x="105" y="639"/>
                  </a:lnTo>
                  <a:lnTo>
                    <a:pt x="106" y="640"/>
                  </a:lnTo>
                  <a:lnTo>
                    <a:pt x="109" y="645"/>
                  </a:lnTo>
                  <a:lnTo>
                    <a:pt x="111" y="651"/>
                  </a:lnTo>
                  <a:lnTo>
                    <a:pt x="111" y="654"/>
                  </a:lnTo>
                  <a:lnTo>
                    <a:pt x="112" y="657"/>
                  </a:lnTo>
                  <a:lnTo>
                    <a:pt x="113" y="657"/>
                  </a:lnTo>
                  <a:lnTo>
                    <a:pt x="114" y="658"/>
                  </a:lnTo>
                  <a:lnTo>
                    <a:pt x="113" y="659"/>
                  </a:lnTo>
                  <a:lnTo>
                    <a:pt x="114" y="661"/>
                  </a:lnTo>
                  <a:lnTo>
                    <a:pt x="111" y="665"/>
                  </a:lnTo>
                  <a:lnTo>
                    <a:pt x="114" y="665"/>
                  </a:lnTo>
                  <a:lnTo>
                    <a:pt x="115" y="667"/>
                  </a:lnTo>
                  <a:lnTo>
                    <a:pt x="117" y="666"/>
                  </a:lnTo>
                  <a:lnTo>
                    <a:pt x="119" y="670"/>
                  </a:lnTo>
                  <a:lnTo>
                    <a:pt x="120" y="670"/>
                  </a:lnTo>
                  <a:lnTo>
                    <a:pt x="121" y="673"/>
                  </a:lnTo>
                  <a:lnTo>
                    <a:pt x="123" y="675"/>
                  </a:lnTo>
                  <a:lnTo>
                    <a:pt x="123" y="678"/>
                  </a:lnTo>
                  <a:lnTo>
                    <a:pt x="121" y="681"/>
                  </a:lnTo>
                  <a:lnTo>
                    <a:pt x="133" y="693"/>
                  </a:lnTo>
                  <a:lnTo>
                    <a:pt x="133" y="694"/>
                  </a:lnTo>
                  <a:lnTo>
                    <a:pt x="138" y="697"/>
                  </a:lnTo>
                  <a:lnTo>
                    <a:pt x="141" y="699"/>
                  </a:lnTo>
                  <a:lnTo>
                    <a:pt x="143" y="700"/>
                  </a:lnTo>
                  <a:lnTo>
                    <a:pt x="144" y="700"/>
                  </a:lnTo>
                  <a:lnTo>
                    <a:pt x="147" y="701"/>
                  </a:lnTo>
                  <a:lnTo>
                    <a:pt x="149" y="705"/>
                  </a:lnTo>
                  <a:lnTo>
                    <a:pt x="149" y="703"/>
                  </a:lnTo>
                  <a:lnTo>
                    <a:pt x="150" y="702"/>
                  </a:lnTo>
                  <a:lnTo>
                    <a:pt x="156" y="702"/>
                  </a:lnTo>
                  <a:lnTo>
                    <a:pt x="157" y="702"/>
                  </a:lnTo>
                  <a:lnTo>
                    <a:pt x="156" y="701"/>
                  </a:lnTo>
                  <a:lnTo>
                    <a:pt x="159" y="700"/>
                  </a:lnTo>
                  <a:lnTo>
                    <a:pt x="163" y="701"/>
                  </a:lnTo>
                  <a:lnTo>
                    <a:pt x="165" y="702"/>
                  </a:lnTo>
                  <a:lnTo>
                    <a:pt x="166" y="703"/>
                  </a:lnTo>
                  <a:lnTo>
                    <a:pt x="162" y="709"/>
                  </a:lnTo>
                  <a:lnTo>
                    <a:pt x="162" y="714"/>
                  </a:lnTo>
                  <a:lnTo>
                    <a:pt x="165" y="717"/>
                  </a:lnTo>
                  <a:lnTo>
                    <a:pt x="166" y="714"/>
                  </a:lnTo>
                  <a:lnTo>
                    <a:pt x="169" y="714"/>
                  </a:lnTo>
                  <a:lnTo>
                    <a:pt x="171" y="715"/>
                  </a:lnTo>
                  <a:lnTo>
                    <a:pt x="172" y="715"/>
                  </a:lnTo>
                  <a:lnTo>
                    <a:pt x="173" y="714"/>
                  </a:lnTo>
                  <a:lnTo>
                    <a:pt x="174" y="714"/>
                  </a:lnTo>
                  <a:lnTo>
                    <a:pt x="177" y="713"/>
                  </a:lnTo>
                  <a:lnTo>
                    <a:pt x="178" y="714"/>
                  </a:lnTo>
                  <a:lnTo>
                    <a:pt x="177" y="715"/>
                  </a:lnTo>
                  <a:lnTo>
                    <a:pt x="178" y="718"/>
                  </a:lnTo>
                  <a:lnTo>
                    <a:pt x="180" y="718"/>
                  </a:lnTo>
                  <a:lnTo>
                    <a:pt x="183" y="718"/>
                  </a:lnTo>
                  <a:lnTo>
                    <a:pt x="184" y="717"/>
                  </a:lnTo>
                  <a:lnTo>
                    <a:pt x="187" y="720"/>
                  </a:lnTo>
                  <a:lnTo>
                    <a:pt x="184" y="724"/>
                  </a:lnTo>
                  <a:lnTo>
                    <a:pt x="185" y="725"/>
                  </a:lnTo>
                  <a:lnTo>
                    <a:pt x="186" y="725"/>
                  </a:lnTo>
                  <a:lnTo>
                    <a:pt x="189" y="725"/>
                  </a:lnTo>
                  <a:lnTo>
                    <a:pt x="193" y="729"/>
                  </a:lnTo>
                  <a:lnTo>
                    <a:pt x="201" y="731"/>
                  </a:lnTo>
                  <a:lnTo>
                    <a:pt x="203" y="731"/>
                  </a:lnTo>
                  <a:lnTo>
                    <a:pt x="209" y="732"/>
                  </a:lnTo>
                  <a:lnTo>
                    <a:pt x="228" y="720"/>
                  </a:lnTo>
                  <a:lnTo>
                    <a:pt x="233" y="709"/>
                  </a:lnTo>
                  <a:lnTo>
                    <a:pt x="237" y="708"/>
                  </a:lnTo>
                  <a:lnTo>
                    <a:pt x="239" y="708"/>
                  </a:lnTo>
                  <a:lnTo>
                    <a:pt x="243" y="711"/>
                  </a:lnTo>
                  <a:lnTo>
                    <a:pt x="250" y="713"/>
                  </a:lnTo>
                  <a:lnTo>
                    <a:pt x="255" y="713"/>
                  </a:lnTo>
                  <a:lnTo>
                    <a:pt x="262" y="715"/>
                  </a:lnTo>
                  <a:lnTo>
                    <a:pt x="265" y="718"/>
                  </a:lnTo>
                  <a:lnTo>
                    <a:pt x="269" y="718"/>
                  </a:lnTo>
                  <a:lnTo>
                    <a:pt x="270" y="715"/>
                  </a:lnTo>
                  <a:lnTo>
                    <a:pt x="270" y="712"/>
                  </a:lnTo>
                  <a:lnTo>
                    <a:pt x="271" y="709"/>
                  </a:lnTo>
                  <a:lnTo>
                    <a:pt x="274" y="702"/>
                  </a:lnTo>
                  <a:lnTo>
                    <a:pt x="279" y="706"/>
                  </a:lnTo>
                  <a:lnTo>
                    <a:pt x="280" y="708"/>
                  </a:lnTo>
                  <a:lnTo>
                    <a:pt x="282" y="711"/>
                  </a:lnTo>
                  <a:lnTo>
                    <a:pt x="285" y="709"/>
                  </a:lnTo>
                  <a:lnTo>
                    <a:pt x="288" y="709"/>
                  </a:lnTo>
                  <a:lnTo>
                    <a:pt x="291" y="708"/>
                  </a:lnTo>
                  <a:lnTo>
                    <a:pt x="297" y="708"/>
                  </a:lnTo>
                  <a:lnTo>
                    <a:pt x="299" y="706"/>
                  </a:lnTo>
                  <a:lnTo>
                    <a:pt x="301" y="703"/>
                  </a:lnTo>
                  <a:lnTo>
                    <a:pt x="304" y="705"/>
                  </a:lnTo>
                  <a:lnTo>
                    <a:pt x="307" y="703"/>
                  </a:lnTo>
                  <a:lnTo>
                    <a:pt x="310" y="701"/>
                  </a:lnTo>
                  <a:lnTo>
                    <a:pt x="318" y="696"/>
                  </a:lnTo>
                  <a:lnTo>
                    <a:pt x="331" y="685"/>
                  </a:lnTo>
                  <a:lnTo>
                    <a:pt x="335" y="677"/>
                  </a:lnTo>
                  <a:lnTo>
                    <a:pt x="337" y="673"/>
                  </a:lnTo>
                  <a:lnTo>
                    <a:pt x="342" y="672"/>
                  </a:lnTo>
                  <a:lnTo>
                    <a:pt x="347" y="673"/>
                  </a:lnTo>
                  <a:lnTo>
                    <a:pt x="361" y="677"/>
                  </a:lnTo>
                  <a:lnTo>
                    <a:pt x="383" y="679"/>
                  </a:lnTo>
                  <a:lnTo>
                    <a:pt x="387" y="682"/>
                  </a:lnTo>
                  <a:lnTo>
                    <a:pt x="389" y="681"/>
                  </a:lnTo>
                  <a:lnTo>
                    <a:pt x="396" y="678"/>
                  </a:lnTo>
                  <a:lnTo>
                    <a:pt x="400" y="676"/>
                  </a:lnTo>
                  <a:lnTo>
                    <a:pt x="402" y="676"/>
                  </a:lnTo>
                  <a:lnTo>
                    <a:pt x="406" y="673"/>
                  </a:lnTo>
                  <a:lnTo>
                    <a:pt x="408" y="669"/>
                  </a:lnTo>
                  <a:lnTo>
                    <a:pt x="419" y="663"/>
                  </a:lnTo>
                  <a:lnTo>
                    <a:pt x="420" y="660"/>
                  </a:lnTo>
                  <a:lnTo>
                    <a:pt x="423" y="660"/>
                  </a:lnTo>
                  <a:lnTo>
                    <a:pt x="425" y="661"/>
                  </a:lnTo>
                  <a:lnTo>
                    <a:pt x="426" y="663"/>
                  </a:lnTo>
                  <a:lnTo>
                    <a:pt x="426" y="666"/>
                  </a:lnTo>
                  <a:lnTo>
                    <a:pt x="430" y="672"/>
                  </a:lnTo>
                  <a:lnTo>
                    <a:pt x="431" y="673"/>
                  </a:lnTo>
                  <a:lnTo>
                    <a:pt x="454" y="699"/>
                  </a:lnTo>
                  <a:lnTo>
                    <a:pt x="450" y="703"/>
                  </a:lnTo>
                  <a:lnTo>
                    <a:pt x="449" y="711"/>
                  </a:lnTo>
                  <a:lnTo>
                    <a:pt x="448" y="721"/>
                  </a:lnTo>
                  <a:lnTo>
                    <a:pt x="449" y="725"/>
                  </a:lnTo>
                  <a:lnTo>
                    <a:pt x="450" y="731"/>
                  </a:lnTo>
                  <a:lnTo>
                    <a:pt x="448" y="736"/>
                  </a:lnTo>
                  <a:lnTo>
                    <a:pt x="447" y="742"/>
                  </a:lnTo>
                  <a:lnTo>
                    <a:pt x="448" y="750"/>
                  </a:lnTo>
                  <a:lnTo>
                    <a:pt x="453" y="757"/>
                  </a:lnTo>
                  <a:lnTo>
                    <a:pt x="454" y="763"/>
                  </a:lnTo>
                  <a:lnTo>
                    <a:pt x="469" y="768"/>
                  </a:lnTo>
                  <a:lnTo>
                    <a:pt x="477" y="768"/>
                  </a:lnTo>
                  <a:lnTo>
                    <a:pt x="486" y="761"/>
                  </a:lnTo>
                  <a:lnTo>
                    <a:pt x="492" y="754"/>
                  </a:lnTo>
                  <a:lnTo>
                    <a:pt x="493" y="756"/>
                  </a:lnTo>
                  <a:lnTo>
                    <a:pt x="502" y="771"/>
                  </a:lnTo>
                  <a:lnTo>
                    <a:pt x="513" y="772"/>
                  </a:lnTo>
                  <a:lnTo>
                    <a:pt x="519" y="765"/>
                  </a:lnTo>
                  <a:lnTo>
                    <a:pt x="521" y="763"/>
                  </a:lnTo>
                  <a:lnTo>
                    <a:pt x="522" y="760"/>
                  </a:lnTo>
                  <a:lnTo>
                    <a:pt x="526" y="761"/>
                  </a:lnTo>
                  <a:lnTo>
                    <a:pt x="544" y="753"/>
                  </a:lnTo>
                  <a:lnTo>
                    <a:pt x="549" y="749"/>
                  </a:lnTo>
                  <a:lnTo>
                    <a:pt x="559" y="744"/>
                  </a:lnTo>
                  <a:lnTo>
                    <a:pt x="563" y="736"/>
                  </a:lnTo>
                  <a:lnTo>
                    <a:pt x="569" y="731"/>
                  </a:lnTo>
                  <a:lnTo>
                    <a:pt x="582" y="720"/>
                  </a:lnTo>
                  <a:lnTo>
                    <a:pt x="594" y="715"/>
                  </a:lnTo>
                  <a:lnTo>
                    <a:pt x="595" y="713"/>
                  </a:lnTo>
                  <a:lnTo>
                    <a:pt x="604" y="711"/>
                  </a:lnTo>
                  <a:lnTo>
                    <a:pt x="610" y="714"/>
                  </a:lnTo>
                  <a:lnTo>
                    <a:pt x="613" y="714"/>
                  </a:lnTo>
                  <a:lnTo>
                    <a:pt x="617" y="718"/>
                  </a:lnTo>
                  <a:lnTo>
                    <a:pt x="622" y="712"/>
                  </a:lnTo>
                  <a:lnTo>
                    <a:pt x="622" y="707"/>
                  </a:lnTo>
                  <a:lnTo>
                    <a:pt x="623" y="702"/>
                  </a:lnTo>
                  <a:lnTo>
                    <a:pt x="628" y="697"/>
                  </a:lnTo>
                  <a:lnTo>
                    <a:pt x="630" y="696"/>
                  </a:lnTo>
                  <a:lnTo>
                    <a:pt x="631" y="691"/>
                  </a:lnTo>
                  <a:lnTo>
                    <a:pt x="635" y="688"/>
                  </a:lnTo>
                  <a:lnTo>
                    <a:pt x="636" y="685"/>
                  </a:lnTo>
                  <a:lnTo>
                    <a:pt x="639" y="684"/>
                  </a:lnTo>
                  <a:lnTo>
                    <a:pt x="640" y="678"/>
                  </a:lnTo>
                  <a:lnTo>
                    <a:pt x="640" y="671"/>
                  </a:lnTo>
                  <a:lnTo>
                    <a:pt x="643" y="669"/>
                  </a:lnTo>
                  <a:lnTo>
                    <a:pt x="643" y="666"/>
                  </a:lnTo>
                  <a:lnTo>
                    <a:pt x="637" y="659"/>
                  </a:lnTo>
                  <a:lnTo>
                    <a:pt x="634" y="659"/>
                  </a:lnTo>
                  <a:lnTo>
                    <a:pt x="628" y="663"/>
                  </a:lnTo>
                  <a:lnTo>
                    <a:pt x="621" y="666"/>
                  </a:lnTo>
                  <a:lnTo>
                    <a:pt x="619" y="663"/>
                  </a:lnTo>
                  <a:lnTo>
                    <a:pt x="609" y="667"/>
                  </a:lnTo>
                  <a:lnTo>
                    <a:pt x="609" y="665"/>
                  </a:lnTo>
                  <a:lnTo>
                    <a:pt x="611" y="660"/>
                  </a:lnTo>
                  <a:lnTo>
                    <a:pt x="611" y="658"/>
                  </a:lnTo>
                  <a:lnTo>
                    <a:pt x="610" y="648"/>
                  </a:lnTo>
                  <a:lnTo>
                    <a:pt x="612" y="640"/>
                  </a:lnTo>
                  <a:lnTo>
                    <a:pt x="603" y="633"/>
                  </a:lnTo>
                  <a:lnTo>
                    <a:pt x="600" y="631"/>
                  </a:lnTo>
                  <a:lnTo>
                    <a:pt x="597" y="623"/>
                  </a:lnTo>
                  <a:lnTo>
                    <a:pt x="587" y="618"/>
                  </a:lnTo>
                  <a:lnTo>
                    <a:pt x="586" y="611"/>
                  </a:lnTo>
                  <a:lnTo>
                    <a:pt x="592" y="603"/>
                  </a:lnTo>
                  <a:lnTo>
                    <a:pt x="599" y="603"/>
                  </a:lnTo>
                  <a:lnTo>
                    <a:pt x="604" y="593"/>
                  </a:lnTo>
                  <a:lnTo>
                    <a:pt x="603" y="585"/>
                  </a:lnTo>
                  <a:lnTo>
                    <a:pt x="598" y="579"/>
                  </a:lnTo>
                  <a:lnTo>
                    <a:pt x="588" y="573"/>
                  </a:lnTo>
                  <a:lnTo>
                    <a:pt x="581" y="570"/>
                  </a:lnTo>
                  <a:lnTo>
                    <a:pt x="571" y="561"/>
                  </a:lnTo>
                  <a:lnTo>
                    <a:pt x="565" y="570"/>
                  </a:lnTo>
                  <a:lnTo>
                    <a:pt x="558" y="564"/>
                  </a:lnTo>
                  <a:lnTo>
                    <a:pt x="552" y="565"/>
                  </a:lnTo>
                  <a:lnTo>
                    <a:pt x="549" y="570"/>
                  </a:lnTo>
                  <a:lnTo>
                    <a:pt x="540" y="565"/>
                  </a:lnTo>
                  <a:lnTo>
                    <a:pt x="546" y="556"/>
                  </a:lnTo>
                  <a:lnTo>
                    <a:pt x="544" y="545"/>
                  </a:lnTo>
                  <a:lnTo>
                    <a:pt x="547" y="535"/>
                  </a:lnTo>
                  <a:lnTo>
                    <a:pt x="550" y="522"/>
                  </a:lnTo>
                  <a:lnTo>
                    <a:pt x="555" y="520"/>
                  </a:lnTo>
                  <a:lnTo>
                    <a:pt x="557" y="523"/>
                  </a:lnTo>
                  <a:lnTo>
                    <a:pt x="564" y="523"/>
                  </a:lnTo>
                  <a:lnTo>
                    <a:pt x="568" y="527"/>
                  </a:lnTo>
                  <a:lnTo>
                    <a:pt x="571" y="527"/>
                  </a:lnTo>
                  <a:lnTo>
                    <a:pt x="570" y="522"/>
                  </a:lnTo>
                  <a:lnTo>
                    <a:pt x="568" y="522"/>
                  </a:lnTo>
                  <a:lnTo>
                    <a:pt x="565" y="520"/>
                  </a:lnTo>
                  <a:lnTo>
                    <a:pt x="567" y="516"/>
                  </a:lnTo>
                  <a:lnTo>
                    <a:pt x="574" y="519"/>
                  </a:lnTo>
                  <a:lnTo>
                    <a:pt x="580" y="520"/>
                  </a:lnTo>
                  <a:lnTo>
                    <a:pt x="583" y="526"/>
                  </a:lnTo>
                  <a:lnTo>
                    <a:pt x="586" y="532"/>
                  </a:lnTo>
                  <a:lnTo>
                    <a:pt x="587" y="533"/>
                  </a:lnTo>
                  <a:lnTo>
                    <a:pt x="591" y="533"/>
                  </a:lnTo>
                  <a:lnTo>
                    <a:pt x="591" y="527"/>
                  </a:lnTo>
                  <a:lnTo>
                    <a:pt x="593" y="528"/>
                  </a:lnTo>
                  <a:lnTo>
                    <a:pt x="600" y="527"/>
                  </a:lnTo>
                  <a:lnTo>
                    <a:pt x="610" y="520"/>
                  </a:lnTo>
                  <a:lnTo>
                    <a:pt x="613" y="515"/>
                  </a:lnTo>
                  <a:lnTo>
                    <a:pt x="621" y="513"/>
                  </a:lnTo>
                  <a:lnTo>
                    <a:pt x="622" y="510"/>
                  </a:lnTo>
                  <a:lnTo>
                    <a:pt x="624" y="510"/>
                  </a:lnTo>
                  <a:lnTo>
                    <a:pt x="627" y="509"/>
                  </a:lnTo>
                  <a:lnTo>
                    <a:pt x="628" y="504"/>
                  </a:lnTo>
                  <a:lnTo>
                    <a:pt x="641" y="503"/>
                  </a:lnTo>
                  <a:lnTo>
                    <a:pt x="643" y="502"/>
                  </a:lnTo>
                  <a:lnTo>
                    <a:pt x="648" y="503"/>
                  </a:lnTo>
                  <a:lnTo>
                    <a:pt x="664" y="498"/>
                  </a:lnTo>
                  <a:lnTo>
                    <a:pt x="673" y="501"/>
                  </a:lnTo>
                  <a:lnTo>
                    <a:pt x="679" y="496"/>
                  </a:lnTo>
                  <a:lnTo>
                    <a:pt x="687" y="496"/>
                  </a:lnTo>
                  <a:lnTo>
                    <a:pt x="696" y="499"/>
                  </a:lnTo>
                  <a:lnTo>
                    <a:pt x="705" y="495"/>
                  </a:lnTo>
                  <a:lnTo>
                    <a:pt x="731" y="485"/>
                  </a:lnTo>
                  <a:lnTo>
                    <a:pt x="736" y="484"/>
                  </a:lnTo>
                  <a:lnTo>
                    <a:pt x="754" y="457"/>
                  </a:lnTo>
                  <a:lnTo>
                    <a:pt x="760" y="449"/>
                  </a:lnTo>
                  <a:lnTo>
                    <a:pt x="759" y="432"/>
                  </a:lnTo>
                  <a:lnTo>
                    <a:pt x="753" y="431"/>
                  </a:lnTo>
                  <a:lnTo>
                    <a:pt x="744" y="423"/>
                  </a:lnTo>
                  <a:lnTo>
                    <a:pt x="735" y="406"/>
                  </a:lnTo>
                  <a:lnTo>
                    <a:pt x="737" y="400"/>
                  </a:lnTo>
                  <a:lnTo>
                    <a:pt x="744" y="391"/>
                  </a:lnTo>
                  <a:lnTo>
                    <a:pt x="762" y="366"/>
                  </a:lnTo>
                  <a:lnTo>
                    <a:pt x="762" y="359"/>
                  </a:lnTo>
                  <a:lnTo>
                    <a:pt x="767" y="357"/>
                  </a:lnTo>
                  <a:lnTo>
                    <a:pt x="778" y="345"/>
                  </a:lnTo>
                  <a:lnTo>
                    <a:pt x="786" y="333"/>
                  </a:lnTo>
                  <a:lnTo>
                    <a:pt x="787" y="327"/>
                  </a:lnTo>
                  <a:lnTo>
                    <a:pt x="793" y="322"/>
                  </a:lnTo>
                  <a:lnTo>
                    <a:pt x="792" y="310"/>
                  </a:lnTo>
                  <a:lnTo>
                    <a:pt x="799" y="305"/>
                  </a:lnTo>
                  <a:lnTo>
                    <a:pt x="808" y="310"/>
                  </a:lnTo>
                  <a:lnTo>
                    <a:pt x="809" y="305"/>
                  </a:lnTo>
                  <a:lnTo>
                    <a:pt x="817" y="304"/>
                  </a:lnTo>
                  <a:lnTo>
                    <a:pt x="834" y="280"/>
                  </a:lnTo>
                  <a:lnTo>
                    <a:pt x="821" y="265"/>
                  </a:lnTo>
                  <a:lnTo>
                    <a:pt x="815" y="253"/>
                  </a:lnTo>
                  <a:lnTo>
                    <a:pt x="817" y="245"/>
                  </a:lnTo>
                  <a:lnTo>
                    <a:pt x="821" y="237"/>
                  </a:lnTo>
                  <a:lnTo>
                    <a:pt x="828" y="229"/>
                  </a:lnTo>
                  <a:lnTo>
                    <a:pt x="834" y="223"/>
                  </a:lnTo>
                  <a:lnTo>
                    <a:pt x="835" y="220"/>
                  </a:lnTo>
                  <a:lnTo>
                    <a:pt x="826" y="213"/>
                  </a:lnTo>
                  <a:lnTo>
                    <a:pt x="826" y="210"/>
                  </a:lnTo>
                  <a:lnTo>
                    <a:pt x="846" y="196"/>
                  </a:lnTo>
                  <a:lnTo>
                    <a:pt x="847" y="187"/>
                  </a:lnTo>
                  <a:lnTo>
                    <a:pt x="834" y="187"/>
                  </a:lnTo>
                  <a:lnTo>
                    <a:pt x="826" y="184"/>
                  </a:lnTo>
                  <a:lnTo>
                    <a:pt x="816" y="171"/>
                  </a:lnTo>
                  <a:lnTo>
                    <a:pt x="803" y="165"/>
                  </a:lnTo>
                  <a:lnTo>
                    <a:pt x="793" y="157"/>
                  </a:lnTo>
                  <a:lnTo>
                    <a:pt x="789" y="156"/>
                  </a:lnTo>
                  <a:lnTo>
                    <a:pt x="783" y="159"/>
                  </a:lnTo>
                  <a:lnTo>
                    <a:pt x="772" y="163"/>
                  </a:lnTo>
                  <a:lnTo>
                    <a:pt x="768" y="162"/>
                  </a:lnTo>
                  <a:lnTo>
                    <a:pt x="763" y="168"/>
                  </a:lnTo>
                  <a:lnTo>
                    <a:pt x="763" y="178"/>
                  </a:lnTo>
                  <a:lnTo>
                    <a:pt x="750" y="186"/>
                  </a:lnTo>
                  <a:lnTo>
                    <a:pt x="730" y="195"/>
                  </a:lnTo>
                  <a:lnTo>
                    <a:pt x="729" y="201"/>
                  </a:lnTo>
                  <a:lnTo>
                    <a:pt x="725" y="205"/>
                  </a:lnTo>
                  <a:lnTo>
                    <a:pt x="695" y="234"/>
                  </a:lnTo>
                  <a:lnTo>
                    <a:pt x="666" y="231"/>
                  </a:lnTo>
                  <a:lnTo>
                    <a:pt x="657" y="227"/>
                  </a:lnTo>
                  <a:lnTo>
                    <a:pt x="628" y="216"/>
                  </a:lnTo>
                  <a:lnTo>
                    <a:pt x="616" y="211"/>
                  </a:lnTo>
                  <a:lnTo>
                    <a:pt x="601" y="210"/>
                  </a:lnTo>
                  <a:lnTo>
                    <a:pt x="593" y="216"/>
                  </a:lnTo>
                  <a:lnTo>
                    <a:pt x="587" y="233"/>
                  </a:lnTo>
                  <a:lnTo>
                    <a:pt x="587" y="241"/>
                  </a:lnTo>
                  <a:lnTo>
                    <a:pt x="592" y="249"/>
                  </a:lnTo>
                  <a:lnTo>
                    <a:pt x="601" y="259"/>
                  </a:lnTo>
                  <a:lnTo>
                    <a:pt x="609" y="262"/>
                  </a:lnTo>
                  <a:lnTo>
                    <a:pt x="612" y="267"/>
                  </a:lnTo>
                  <a:lnTo>
                    <a:pt x="612" y="285"/>
                  </a:lnTo>
                  <a:lnTo>
                    <a:pt x="609" y="297"/>
                  </a:lnTo>
                  <a:lnTo>
                    <a:pt x="606" y="299"/>
                  </a:lnTo>
                  <a:lnTo>
                    <a:pt x="605" y="288"/>
                  </a:lnTo>
                  <a:lnTo>
                    <a:pt x="601" y="285"/>
                  </a:lnTo>
                  <a:lnTo>
                    <a:pt x="597" y="287"/>
                  </a:lnTo>
                  <a:lnTo>
                    <a:pt x="594" y="299"/>
                  </a:lnTo>
                  <a:lnTo>
                    <a:pt x="575" y="303"/>
                  </a:lnTo>
                  <a:lnTo>
                    <a:pt x="571" y="311"/>
                  </a:lnTo>
                  <a:lnTo>
                    <a:pt x="562" y="313"/>
                  </a:lnTo>
                  <a:lnTo>
                    <a:pt x="545" y="312"/>
                  </a:lnTo>
                  <a:lnTo>
                    <a:pt x="533" y="307"/>
                  </a:lnTo>
                  <a:lnTo>
                    <a:pt x="526" y="317"/>
                  </a:lnTo>
                  <a:lnTo>
                    <a:pt x="529" y="337"/>
                  </a:lnTo>
                  <a:lnTo>
                    <a:pt x="529" y="348"/>
                  </a:lnTo>
                  <a:lnTo>
                    <a:pt x="517" y="349"/>
                  </a:lnTo>
                  <a:lnTo>
                    <a:pt x="499" y="342"/>
                  </a:lnTo>
                  <a:lnTo>
                    <a:pt x="490" y="346"/>
                  </a:lnTo>
                  <a:lnTo>
                    <a:pt x="468" y="347"/>
                  </a:lnTo>
                  <a:lnTo>
                    <a:pt x="461" y="335"/>
                  </a:lnTo>
                  <a:lnTo>
                    <a:pt x="417" y="329"/>
                  </a:lnTo>
                  <a:lnTo>
                    <a:pt x="414" y="325"/>
                  </a:lnTo>
                  <a:lnTo>
                    <a:pt x="413" y="316"/>
                  </a:lnTo>
                  <a:lnTo>
                    <a:pt x="387" y="318"/>
                  </a:lnTo>
                  <a:lnTo>
                    <a:pt x="371" y="315"/>
                  </a:lnTo>
                  <a:lnTo>
                    <a:pt x="375" y="309"/>
                  </a:lnTo>
                  <a:lnTo>
                    <a:pt x="379" y="287"/>
                  </a:lnTo>
                  <a:lnTo>
                    <a:pt x="387" y="275"/>
                  </a:lnTo>
                  <a:lnTo>
                    <a:pt x="387" y="268"/>
                  </a:lnTo>
                  <a:lnTo>
                    <a:pt x="394" y="262"/>
                  </a:lnTo>
                  <a:lnTo>
                    <a:pt x="399" y="263"/>
                  </a:lnTo>
                  <a:lnTo>
                    <a:pt x="401" y="253"/>
                  </a:lnTo>
                  <a:lnTo>
                    <a:pt x="406" y="259"/>
                  </a:lnTo>
                  <a:lnTo>
                    <a:pt x="417" y="249"/>
                  </a:lnTo>
                  <a:lnTo>
                    <a:pt x="411" y="245"/>
                  </a:lnTo>
                  <a:lnTo>
                    <a:pt x="408" y="243"/>
                  </a:lnTo>
                  <a:lnTo>
                    <a:pt x="411" y="239"/>
                  </a:lnTo>
                  <a:lnTo>
                    <a:pt x="411" y="229"/>
                  </a:lnTo>
                  <a:lnTo>
                    <a:pt x="408" y="221"/>
                  </a:lnTo>
                  <a:lnTo>
                    <a:pt x="409" y="217"/>
                  </a:lnTo>
                  <a:lnTo>
                    <a:pt x="413" y="222"/>
                  </a:lnTo>
                  <a:lnTo>
                    <a:pt x="418" y="223"/>
                  </a:lnTo>
                  <a:lnTo>
                    <a:pt x="419" y="215"/>
                  </a:lnTo>
                  <a:lnTo>
                    <a:pt x="415" y="202"/>
                  </a:lnTo>
                  <a:lnTo>
                    <a:pt x="419" y="196"/>
                  </a:lnTo>
                  <a:lnTo>
                    <a:pt x="425" y="201"/>
                  </a:lnTo>
                  <a:lnTo>
                    <a:pt x="433" y="199"/>
                  </a:lnTo>
                  <a:lnTo>
                    <a:pt x="442" y="201"/>
                  </a:lnTo>
                  <a:lnTo>
                    <a:pt x="459" y="180"/>
                  </a:lnTo>
                  <a:lnTo>
                    <a:pt x="474" y="172"/>
                  </a:lnTo>
                  <a:lnTo>
                    <a:pt x="477" y="173"/>
                  </a:lnTo>
                  <a:lnTo>
                    <a:pt x="481" y="173"/>
                  </a:lnTo>
                  <a:lnTo>
                    <a:pt x="486" y="172"/>
                  </a:lnTo>
                  <a:lnTo>
                    <a:pt x="491" y="161"/>
                  </a:lnTo>
                  <a:lnTo>
                    <a:pt x="490" y="151"/>
                  </a:lnTo>
                  <a:lnTo>
                    <a:pt x="492" y="147"/>
                  </a:lnTo>
                  <a:lnTo>
                    <a:pt x="497" y="126"/>
                  </a:lnTo>
                  <a:lnTo>
                    <a:pt x="509" y="106"/>
                  </a:lnTo>
                  <a:lnTo>
                    <a:pt x="511" y="96"/>
                  </a:lnTo>
                  <a:lnTo>
                    <a:pt x="510" y="84"/>
                  </a:lnTo>
                  <a:lnTo>
                    <a:pt x="501" y="77"/>
                  </a:lnTo>
                  <a:lnTo>
                    <a:pt x="496" y="77"/>
                  </a:lnTo>
                  <a:lnTo>
                    <a:pt x="486" y="72"/>
                  </a:lnTo>
                  <a:lnTo>
                    <a:pt x="465" y="72"/>
                  </a:lnTo>
                  <a:lnTo>
                    <a:pt x="459" y="75"/>
                  </a:lnTo>
                  <a:lnTo>
                    <a:pt x="444" y="89"/>
                  </a:lnTo>
                  <a:lnTo>
                    <a:pt x="444" y="100"/>
                  </a:lnTo>
                  <a:lnTo>
                    <a:pt x="447" y="109"/>
                  </a:lnTo>
                  <a:lnTo>
                    <a:pt x="447" y="117"/>
                  </a:lnTo>
                  <a:lnTo>
                    <a:pt x="441" y="127"/>
                  </a:lnTo>
                  <a:lnTo>
                    <a:pt x="436" y="132"/>
                  </a:lnTo>
                  <a:lnTo>
                    <a:pt x="435" y="136"/>
                  </a:lnTo>
                  <a:lnTo>
                    <a:pt x="427" y="138"/>
                  </a:lnTo>
                  <a:lnTo>
                    <a:pt x="406" y="135"/>
                  </a:lnTo>
                  <a:lnTo>
                    <a:pt x="406" y="107"/>
                  </a:lnTo>
                  <a:lnTo>
                    <a:pt x="417" y="76"/>
                  </a:lnTo>
                  <a:lnTo>
                    <a:pt x="423" y="53"/>
                  </a:lnTo>
                  <a:lnTo>
                    <a:pt x="415" y="48"/>
                  </a:lnTo>
                  <a:lnTo>
                    <a:pt x="417" y="46"/>
                  </a:lnTo>
                  <a:lnTo>
                    <a:pt x="400" y="43"/>
                  </a:lnTo>
                  <a:lnTo>
                    <a:pt x="394" y="40"/>
                  </a:lnTo>
                  <a:lnTo>
                    <a:pt x="390" y="41"/>
                  </a:lnTo>
                  <a:lnTo>
                    <a:pt x="387" y="70"/>
                  </a:lnTo>
                  <a:lnTo>
                    <a:pt x="382" y="85"/>
                  </a:lnTo>
                  <a:lnTo>
                    <a:pt x="382" y="89"/>
                  </a:lnTo>
                  <a:lnTo>
                    <a:pt x="377" y="111"/>
                  </a:lnTo>
                  <a:lnTo>
                    <a:pt x="369" y="114"/>
                  </a:lnTo>
                  <a:lnTo>
                    <a:pt x="371" y="72"/>
                  </a:lnTo>
                  <a:lnTo>
                    <a:pt x="369" y="64"/>
                  </a:lnTo>
                  <a:lnTo>
                    <a:pt x="370" y="61"/>
                  </a:lnTo>
                  <a:lnTo>
                    <a:pt x="373" y="61"/>
                  </a:lnTo>
                  <a:lnTo>
                    <a:pt x="370" y="43"/>
                  </a:lnTo>
                  <a:lnTo>
                    <a:pt x="387" y="35"/>
                  </a:lnTo>
                  <a:lnTo>
                    <a:pt x="389" y="12"/>
                  </a:lnTo>
                  <a:lnTo>
                    <a:pt x="342" y="0"/>
                  </a:lnTo>
                  <a:lnTo>
                    <a:pt x="340" y="3"/>
                  </a:lnTo>
                  <a:lnTo>
                    <a:pt x="341" y="47"/>
                  </a:lnTo>
                  <a:lnTo>
                    <a:pt x="358" y="55"/>
                  </a:lnTo>
                  <a:lnTo>
                    <a:pt x="358" y="69"/>
                  </a:lnTo>
                  <a:lnTo>
                    <a:pt x="348" y="67"/>
                  </a:lnTo>
                  <a:lnTo>
                    <a:pt x="298" y="67"/>
                  </a:lnTo>
                  <a:lnTo>
                    <a:pt x="277" y="106"/>
                  </a:lnTo>
                  <a:lnTo>
                    <a:pt x="268" y="139"/>
                  </a:lnTo>
                  <a:lnTo>
                    <a:pt x="286" y="173"/>
                  </a:lnTo>
                  <a:lnTo>
                    <a:pt x="303" y="186"/>
                  </a:lnTo>
                  <a:lnTo>
                    <a:pt x="311" y="232"/>
                  </a:lnTo>
                  <a:lnTo>
                    <a:pt x="301" y="244"/>
                  </a:lnTo>
                  <a:lnTo>
                    <a:pt x="349" y="281"/>
                  </a:lnTo>
                  <a:lnTo>
                    <a:pt x="343" y="303"/>
                  </a:lnTo>
                  <a:lnTo>
                    <a:pt x="328" y="315"/>
                  </a:lnTo>
                  <a:lnTo>
                    <a:pt x="301" y="316"/>
                  </a:lnTo>
                  <a:lnTo>
                    <a:pt x="295" y="321"/>
                  </a:lnTo>
                  <a:lnTo>
                    <a:pt x="294" y="329"/>
                  </a:lnTo>
                  <a:lnTo>
                    <a:pt x="301" y="335"/>
                  </a:lnTo>
                  <a:lnTo>
                    <a:pt x="297" y="348"/>
                  </a:lnTo>
                  <a:lnTo>
                    <a:pt x="299" y="359"/>
                  </a:lnTo>
                  <a:lnTo>
                    <a:pt x="292" y="384"/>
                  </a:lnTo>
                  <a:lnTo>
                    <a:pt x="287" y="400"/>
                  </a:lnTo>
                  <a:lnTo>
                    <a:pt x="288" y="418"/>
                  </a:lnTo>
                  <a:lnTo>
                    <a:pt x="285" y="418"/>
                  </a:lnTo>
                  <a:lnTo>
                    <a:pt x="269" y="405"/>
                  </a:lnTo>
                  <a:lnTo>
                    <a:pt x="263" y="394"/>
                  </a:lnTo>
                  <a:lnTo>
                    <a:pt x="255" y="391"/>
                  </a:lnTo>
                  <a:lnTo>
                    <a:pt x="229" y="365"/>
                  </a:lnTo>
                  <a:lnTo>
                    <a:pt x="219" y="367"/>
                  </a:lnTo>
                  <a:lnTo>
                    <a:pt x="203" y="357"/>
                  </a:lnTo>
                  <a:lnTo>
                    <a:pt x="195" y="348"/>
                  </a:lnTo>
                  <a:lnTo>
                    <a:pt x="184" y="346"/>
                  </a:lnTo>
                  <a:lnTo>
                    <a:pt x="173" y="346"/>
                  </a:lnTo>
                  <a:lnTo>
                    <a:pt x="161" y="358"/>
                  </a:lnTo>
                  <a:lnTo>
                    <a:pt x="147" y="365"/>
                  </a:lnTo>
                  <a:lnTo>
                    <a:pt x="136" y="364"/>
                  </a:lnTo>
                  <a:lnTo>
                    <a:pt x="129" y="363"/>
                  </a:lnTo>
                  <a:lnTo>
                    <a:pt x="125" y="364"/>
                  </a:lnTo>
                  <a:lnTo>
                    <a:pt x="119" y="364"/>
                  </a:lnTo>
                  <a:lnTo>
                    <a:pt x="113" y="372"/>
                  </a:lnTo>
                  <a:lnTo>
                    <a:pt x="103" y="388"/>
                  </a:lnTo>
                  <a:lnTo>
                    <a:pt x="95" y="397"/>
                  </a:lnTo>
                  <a:lnTo>
                    <a:pt x="90" y="409"/>
                  </a:lnTo>
                  <a:lnTo>
                    <a:pt x="87" y="412"/>
                  </a:lnTo>
                  <a:lnTo>
                    <a:pt x="84" y="412"/>
                  </a:lnTo>
                  <a:lnTo>
                    <a:pt x="88" y="415"/>
                  </a:lnTo>
                  <a:lnTo>
                    <a:pt x="89" y="419"/>
                  </a:lnTo>
                  <a:lnTo>
                    <a:pt x="84" y="433"/>
                  </a:lnTo>
                  <a:lnTo>
                    <a:pt x="76" y="435"/>
                  </a:lnTo>
                  <a:lnTo>
                    <a:pt x="75" y="437"/>
                  </a:lnTo>
                  <a:lnTo>
                    <a:pt x="69" y="442"/>
                  </a:lnTo>
                  <a:lnTo>
                    <a:pt x="60" y="444"/>
                  </a:lnTo>
                  <a:lnTo>
                    <a:pt x="57" y="443"/>
                  </a:lnTo>
                  <a:lnTo>
                    <a:pt x="54" y="445"/>
                  </a:lnTo>
                  <a:lnTo>
                    <a:pt x="52" y="444"/>
                  </a:lnTo>
                  <a:lnTo>
                    <a:pt x="51" y="445"/>
                  </a:lnTo>
                  <a:lnTo>
                    <a:pt x="48" y="445"/>
                  </a:lnTo>
                  <a:lnTo>
                    <a:pt x="48" y="448"/>
                  </a:lnTo>
                  <a:lnTo>
                    <a:pt x="43" y="445"/>
                  </a:lnTo>
                  <a:lnTo>
                    <a:pt x="39" y="448"/>
                  </a:lnTo>
                  <a:lnTo>
                    <a:pt x="33" y="447"/>
                  </a:lnTo>
                  <a:lnTo>
                    <a:pt x="29" y="448"/>
                  </a:lnTo>
                  <a:lnTo>
                    <a:pt x="27" y="447"/>
                  </a:lnTo>
                  <a:lnTo>
                    <a:pt x="23" y="449"/>
                  </a:lnTo>
                  <a:lnTo>
                    <a:pt x="22" y="448"/>
                  </a:lnTo>
                  <a:lnTo>
                    <a:pt x="21" y="449"/>
                  </a:lnTo>
                  <a:lnTo>
                    <a:pt x="15" y="451"/>
                  </a:lnTo>
                  <a:lnTo>
                    <a:pt x="13" y="451"/>
                  </a:lnTo>
                  <a:lnTo>
                    <a:pt x="10" y="455"/>
                  </a:lnTo>
                  <a:lnTo>
                    <a:pt x="9" y="455"/>
                  </a:lnTo>
                  <a:lnTo>
                    <a:pt x="6" y="459"/>
                  </a:lnTo>
                  <a:lnTo>
                    <a:pt x="5" y="459"/>
                  </a:lnTo>
                  <a:lnTo>
                    <a:pt x="4" y="463"/>
                  </a:lnTo>
                  <a:lnTo>
                    <a:pt x="0" y="463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10" name="Freeform 38"/>
            <p:cNvSpPr>
              <a:spLocks/>
            </p:cNvSpPr>
            <p:nvPr/>
          </p:nvSpPr>
          <p:spPr bwMode="auto">
            <a:xfrm>
              <a:off x="3713163" y="4081463"/>
              <a:ext cx="274637" cy="379412"/>
            </a:xfrm>
            <a:custGeom>
              <a:avLst/>
              <a:gdLst>
                <a:gd name="T0" fmla="*/ 12600758 w 346"/>
                <a:gd name="T1" fmla="*/ 94738939 h 479"/>
                <a:gd name="T2" fmla="*/ 11340286 w 346"/>
                <a:gd name="T3" fmla="*/ 110423942 h 479"/>
                <a:gd name="T4" fmla="*/ 12600758 w 346"/>
                <a:gd name="T5" fmla="*/ 127364410 h 479"/>
                <a:gd name="T6" fmla="*/ 21420892 w 346"/>
                <a:gd name="T7" fmla="*/ 144304087 h 479"/>
                <a:gd name="T8" fmla="*/ 23941044 w 346"/>
                <a:gd name="T9" fmla="*/ 146186097 h 479"/>
                <a:gd name="T10" fmla="*/ 27091432 w 346"/>
                <a:gd name="T11" fmla="*/ 151832920 h 479"/>
                <a:gd name="T12" fmla="*/ 32761972 w 346"/>
                <a:gd name="T13" fmla="*/ 168146052 h 479"/>
                <a:gd name="T14" fmla="*/ 37802275 w 346"/>
                <a:gd name="T15" fmla="*/ 176302222 h 479"/>
                <a:gd name="T16" fmla="*/ 50403033 w 346"/>
                <a:gd name="T17" fmla="*/ 183831055 h 479"/>
                <a:gd name="T18" fmla="*/ 57333252 w 346"/>
                <a:gd name="T19" fmla="*/ 187595075 h 479"/>
                <a:gd name="T20" fmla="*/ 62373555 w 346"/>
                <a:gd name="T21" fmla="*/ 191359888 h 479"/>
                <a:gd name="T22" fmla="*/ 61743319 w 346"/>
                <a:gd name="T23" fmla="*/ 199516058 h 479"/>
                <a:gd name="T24" fmla="*/ 57333252 w 346"/>
                <a:gd name="T25" fmla="*/ 209555030 h 479"/>
                <a:gd name="T26" fmla="*/ 58593725 w 346"/>
                <a:gd name="T27" fmla="*/ 224612696 h 479"/>
                <a:gd name="T28" fmla="*/ 57333252 w 346"/>
                <a:gd name="T29" fmla="*/ 230259519 h 479"/>
                <a:gd name="T30" fmla="*/ 56703016 w 346"/>
                <a:gd name="T31" fmla="*/ 235906342 h 479"/>
                <a:gd name="T32" fmla="*/ 56703016 w 346"/>
                <a:gd name="T33" fmla="*/ 245944522 h 479"/>
                <a:gd name="T34" fmla="*/ 49772797 w 346"/>
                <a:gd name="T35" fmla="*/ 249081206 h 479"/>
                <a:gd name="T36" fmla="*/ 44102257 w 346"/>
                <a:gd name="T37" fmla="*/ 254728029 h 479"/>
                <a:gd name="T38" fmla="*/ 36541802 w 346"/>
                <a:gd name="T39" fmla="*/ 260374851 h 479"/>
                <a:gd name="T40" fmla="*/ 28351905 w 346"/>
                <a:gd name="T41" fmla="*/ 271041160 h 479"/>
                <a:gd name="T42" fmla="*/ 20161213 w 346"/>
                <a:gd name="T43" fmla="*/ 278569993 h 479"/>
                <a:gd name="T44" fmla="*/ 22681365 w 346"/>
                <a:gd name="T45" fmla="*/ 279197330 h 479"/>
                <a:gd name="T46" fmla="*/ 30241820 w 346"/>
                <a:gd name="T47" fmla="*/ 282961351 h 479"/>
                <a:gd name="T48" fmla="*/ 42212342 w 346"/>
                <a:gd name="T49" fmla="*/ 282961351 h 479"/>
                <a:gd name="T50" fmla="*/ 49142561 w 346"/>
                <a:gd name="T51" fmla="*/ 294882333 h 479"/>
                <a:gd name="T52" fmla="*/ 57963488 w 346"/>
                <a:gd name="T53" fmla="*/ 287353500 h 479"/>
                <a:gd name="T54" fmla="*/ 76864229 w 346"/>
                <a:gd name="T55" fmla="*/ 266649011 h 479"/>
                <a:gd name="T56" fmla="*/ 90725460 w 346"/>
                <a:gd name="T57" fmla="*/ 267276348 h 479"/>
                <a:gd name="T58" fmla="*/ 120967280 w 346"/>
                <a:gd name="T59" fmla="*/ 256610831 h 479"/>
                <a:gd name="T60" fmla="*/ 158769555 w 346"/>
                <a:gd name="T61" fmla="*/ 283589480 h 479"/>
                <a:gd name="T62" fmla="*/ 179560211 w 346"/>
                <a:gd name="T63" fmla="*/ 300529156 h 479"/>
                <a:gd name="T64" fmla="*/ 185230750 w 346"/>
                <a:gd name="T65" fmla="*/ 256610831 h 479"/>
                <a:gd name="T66" fmla="*/ 187750902 w 346"/>
                <a:gd name="T67" fmla="*/ 236533679 h 479"/>
                <a:gd name="T68" fmla="*/ 187750902 w 346"/>
                <a:gd name="T69" fmla="*/ 191359888 h 479"/>
                <a:gd name="T70" fmla="*/ 166959452 w 346"/>
                <a:gd name="T71" fmla="*/ 125481608 h 479"/>
                <a:gd name="T72" fmla="*/ 162549385 w 346"/>
                <a:gd name="T73" fmla="*/ 75289123 h 479"/>
                <a:gd name="T74" fmla="*/ 137978105 w 346"/>
                <a:gd name="T75" fmla="*/ 70269637 h 479"/>
                <a:gd name="T76" fmla="*/ 118447128 w 346"/>
                <a:gd name="T77" fmla="*/ 43918325 h 479"/>
                <a:gd name="T78" fmla="*/ 92615375 w 346"/>
                <a:gd name="T79" fmla="*/ 53957297 h 479"/>
                <a:gd name="T80" fmla="*/ 83795241 w 346"/>
                <a:gd name="T81" fmla="*/ 43918325 h 479"/>
                <a:gd name="T82" fmla="*/ 80014617 w 346"/>
                <a:gd name="T83" fmla="*/ 10666309 h 479"/>
                <a:gd name="T84" fmla="*/ 25201517 w 346"/>
                <a:gd name="T85" fmla="*/ 3136684 h 479"/>
                <a:gd name="T86" fmla="*/ 25201517 w 346"/>
                <a:gd name="T87" fmla="*/ 14430329 h 479"/>
                <a:gd name="T88" fmla="*/ 27091432 w 346"/>
                <a:gd name="T89" fmla="*/ 52702624 h 479"/>
                <a:gd name="T90" fmla="*/ 15120910 w 346"/>
                <a:gd name="T91" fmla="*/ 59604120 h 479"/>
                <a:gd name="T92" fmla="*/ 8820134 w 346"/>
                <a:gd name="T93" fmla="*/ 53329961 h 479"/>
                <a:gd name="T94" fmla="*/ 0 w 346"/>
                <a:gd name="T95" fmla="*/ 52075287 h 47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46"/>
                <a:gd name="T145" fmla="*/ 0 h 479"/>
                <a:gd name="T146" fmla="*/ 346 w 346"/>
                <a:gd name="T147" fmla="*/ 479 h 47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46" h="479">
                  <a:moveTo>
                    <a:pt x="0" y="83"/>
                  </a:moveTo>
                  <a:lnTo>
                    <a:pt x="6" y="94"/>
                  </a:lnTo>
                  <a:lnTo>
                    <a:pt x="15" y="116"/>
                  </a:lnTo>
                  <a:lnTo>
                    <a:pt x="20" y="151"/>
                  </a:lnTo>
                  <a:lnTo>
                    <a:pt x="19" y="155"/>
                  </a:lnTo>
                  <a:lnTo>
                    <a:pt x="20" y="163"/>
                  </a:lnTo>
                  <a:lnTo>
                    <a:pt x="19" y="172"/>
                  </a:lnTo>
                  <a:lnTo>
                    <a:pt x="18" y="176"/>
                  </a:lnTo>
                  <a:lnTo>
                    <a:pt x="15" y="191"/>
                  </a:lnTo>
                  <a:lnTo>
                    <a:pt x="18" y="198"/>
                  </a:lnTo>
                  <a:lnTo>
                    <a:pt x="20" y="200"/>
                  </a:lnTo>
                  <a:lnTo>
                    <a:pt x="20" y="203"/>
                  </a:lnTo>
                  <a:lnTo>
                    <a:pt x="24" y="209"/>
                  </a:lnTo>
                  <a:lnTo>
                    <a:pt x="28" y="216"/>
                  </a:lnTo>
                  <a:lnTo>
                    <a:pt x="30" y="217"/>
                  </a:lnTo>
                  <a:lnTo>
                    <a:pt x="34" y="230"/>
                  </a:lnTo>
                  <a:lnTo>
                    <a:pt x="36" y="232"/>
                  </a:lnTo>
                  <a:lnTo>
                    <a:pt x="37" y="230"/>
                  </a:lnTo>
                  <a:lnTo>
                    <a:pt x="38" y="232"/>
                  </a:lnTo>
                  <a:lnTo>
                    <a:pt x="38" y="233"/>
                  </a:lnTo>
                  <a:lnTo>
                    <a:pt x="37" y="233"/>
                  </a:lnTo>
                  <a:lnTo>
                    <a:pt x="42" y="239"/>
                  </a:lnTo>
                  <a:lnTo>
                    <a:pt x="42" y="241"/>
                  </a:lnTo>
                  <a:lnTo>
                    <a:pt x="43" y="242"/>
                  </a:lnTo>
                  <a:lnTo>
                    <a:pt x="44" y="246"/>
                  </a:lnTo>
                  <a:lnTo>
                    <a:pt x="45" y="246"/>
                  </a:lnTo>
                  <a:lnTo>
                    <a:pt x="52" y="263"/>
                  </a:lnTo>
                  <a:lnTo>
                    <a:pt x="52" y="268"/>
                  </a:lnTo>
                  <a:lnTo>
                    <a:pt x="52" y="272"/>
                  </a:lnTo>
                  <a:lnTo>
                    <a:pt x="54" y="274"/>
                  </a:lnTo>
                  <a:lnTo>
                    <a:pt x="52" y="275"/>
                  </a:lnTo>
                  <a:lnTo>
                    <a:pt x="60" y="281"/>
                  </a:lnTo>
                  <a:lnTo>
                    <a:pt x="64" y="282"/>
                  </a:lnTo>
                  <a:lnTo>
                    <a:pt x="75" y="289"/>
                  </a:lnTo>
                  <a:lnTo>
                    <a:pt x="80" y="294"/>
                  </a:lnTo>
                  <a:lnTo>
                    <a:pt x="80" y="293"/>
                  </a:lnTo>
                  <a:lnTo>
                    <a:pt x="82" y="294"/>
                  </a:lnTo>
                  <a:lnTo>
                    <a:pt x="85" y="298"/>
                  </a:lnTo>
                  <a:lnTo>
                    <a:pt x="87" y="299"/>
                  </a:lnTo>
                  <a:lnTo>
                    <a:pt x="91" y="299"/>
                  </a:lnTo>
                  <a:lnTo>
                    <a:pt x="90" y="296"/>
                  </a:lnTo>
                  <a:lnTo>
                    <a:pt x="91" y="296"/>
                  </a:lnTo>
                  <a:lnTo>
                    <a:pt x="94" y="298"/>
                  </a:lnTo>
                  <a:lnTo>
                    <a:pt x="99" y="305"/>
                  </a:lnTo>
                  <a:lnTo>
                    <a:pt x="99" y="307"/>
                  </a:lnTo>
                  <a:lnTo>
                    <a:pt x="102" y="311"/>
                  </a:lnTo>
                  <a:lnTo>
                    <a:pt x="100" y="313"/>
                  </a:lnTo>
                  <a:lnTo>
                    <a:pt x="98" y="318"/>
                  </a:lnTo>
                  <a:lnTo>
                    <a:pt x="97" y="319"/>
                  </a:lnTo>
                  <a:lnTo>
                    <a:pt x="96" y="319"/>
                  </a:lnTo>
                  <a:lnTo>
                    <a:pt x="91" y="329"/>
                  </a:lnTo>
                  <a:lnTo>
                    <a:pt x="91" y="334"/>
                  </a:lnTo>
                  <a:lnTo>
                    <a:pt x="88" y="335"/>
                  </a:lnTo>
                  <a:lnTo>
                    <a:pt x="93" y="343"/>
                  </a:lnTo>
                  <a:lnTo>
                    <a:pt x="94" y="350"/>
                  </a:lnTo>
                  <a:lnTo>
                    <a:pt x="93" y="358"/>
                  </a:lnTo>
                  <a:lnTo>
                    <a:pt x="96" y="359"/>
                  </a:lnTo>
                  <a:lnTo>
                    <a:pt x="94" y="360"/>
                  </a:lnTo>
                  <a:lnTo>
                    <a:pt x="94" y="362"/>
                  </a:lnTo>
                  <a:lnTo>
                    <a:pt x="91" y="367"/>
                  </a:lnTo>
                  <a:lnTo>
                    <a:pt x="91" y="371"/>
                  </a:lnTo>
                  <a:lnTo>
                    <a:pt x="93" y="371"/>
                  </a:lnTo>
                  <a:lnTo>
                    <a:pt x="92" y="374"/>
                  </a:lnTo>
                  <a:lnTo>
                    <a:pt x="90" y="376"/>
                  </a:lnTo>
                  <a:lnTo>
                    <a:pt x="90" y="378"/>
                  </a:lnTo>
                  <a:lnTo>
                    <a:pt x="90" y="379"/>
                  </a:lnTo>
                  <a:lnTo>
                    <a:pt x="91" y="384"/>
                  </a:lnTo>
                  <a:lnTo>
                    <a:pt x="90" y="392"/>
                  </a:lnTo>
                  <a:lnTo>
                    <a:pt x="84" y="398"/>
                  </a:lnTo>
                  <a:lnTo>
                    <a:pt x="82" y="398"/>
                  </a:lnTo>
                  <a:lnTo>
                    <a:pt x="80" y="398"/>
                  </a:lnTo>
                  <a:lnTo>
                    <a:pt x="79" y="397"/>
                  </a:lnTo>
                  <a:lnTo>
                    <a:pt x="76" y="396"/>
                  </a:lnTo>
                  <a:lnTo>
                    <a:pt x="74" y="401"/>
                  </a:lnTo>
                  <a:lnTo>
                    <a:pt x="73" y="402"/>
                  </a:lnTo>
                  <a:lnTo>
                    <a:pt x="70" y="406"/>
                  </a:lnTo>
                  <a:lnTo>
                    <a:pt x="69" y="407"/>
                  </a:lnTo>
                  <a:lnTo>
                    <a:pt x="67" y="410"/>
                  </a:lnTo>
                  <a:lnTo>
                    <a:pt x="61" y="415"/>
                  </a:lnTo>
                  <a:lnTo>
                    <a:pt x="58" y="415"/>
                  </a:lnTo>
                  <a:lnTo>
                    <a:pt x="51" y="427"/>
                  </a:lnTo>
                  <a:lnTo>
                    <a:pt x="49" y="426"/>
                  </a:lnTo>
                  <a:lnTo>
                    <a:pt x="45" y="430"/>
                  </a:lnTo>
                  <a:lnTo>
                    <a:pt x="45" y="432"/>
                  </a:lnTo>
                  <a:lnTo>
                    <a:pt x="39" y="443"/>
                  </a:lnTo>
                  <a:lnTo>
                    <a:pt x="36" y="444"/>
                  </a:lnTo>
                  <a:lnTo>
                    <a:pt x="34" y="440"/>
                  </a:lnTo>
                  <a:lnTo>
                    <a:pt x="32" y="444"/>
                  </a:lnTo>
                  <a:lnTo>
                    <a:pt x="30" y="445"/>
                  </a:lnTo>
                  <a:lnTo>
                    <a:pt x="31" y="449"/>
                  </a:lnTo>
                  <a:lnTo>
                    <a:pt x="32" y="446"/>
                  </a:lnTo>
                  <a:lnTo>
                    <a:pt x="36" y="445"/>
                  </a:lnTo>
                  <a:lnTo>
                    <a:pt x="42" y="451"/>
                  </a:lnTo>
                  <a:lnTo>
                    <a:pt x="44" y="450"/>
                  </a:lnTo>
                  <a:lnTo>
                    <a:pt x="45" y="451"/>
                  </a:lnTo>
                  <a:lnTo>
                    <a:pt x="48" y="451"/>
                  </a:lnTo>
                  <a:lnTo>
                    <a:pt x="55" y="455"/>
                  </a:lnTo>
                  <a:lnTo>
                    <a:pt x="56" y="455"/>
                  </a:lnTo>
                  <a:lnTo>
                    <a:pt x="64" y="450"/>
                  </a:lnTo>
                  <a:lnTo>
                    <a:pt x="67" y="451"/>
                  </a:lnTo>
                  <a:lnTo>
                    <a:pt x="72" y="457"/>
                  </a:lnTo>
                  <a:lnTo>
                    <a:pt x="75" y="468"/>
                  </a:lnTo>
                  <a:lnTo>
                    <a:pt x="78" y="467"/>
                  </a:lnTo>
                  <a:lnTo>
                    <a:pt x="78" y="470"/>
                  </a:lnTo>
                  <a:lnTo>
                    <a:pt x="81" y="473"/>
                  </a:lnTo>
                  <a:lnTo>
                    <a:pt x="84" y="473"/>
                  </a:lnTo>
                  <a:lnTo>
                    <a:pt x="87" y="470"/>
                  </a:lnTo>
                  <a:lnTo>
                    <a:pt x="92" y="458"/>
                  </a:lnTo>
                  <a:lnTo>
                    <a:pt x="100" y="449"/>
                  </a:lnTo>
                  <a:lnTo>
                    <a:pt x="110" y="433"/>
                  </a:lnTo>
                  <a:lnTo>
                    <a:pt x="116" y="425"/>
                  </a:lnTo>
                  <a:lnTo>
                    <a:pt x="122" y="425"/>
                  </a:lnTo>
                  <a:lnTo>
                    <a:pt x="126" y="424"/>
                  </a:lnTo>
                  <a:lnTo>
                    <a:pt x="133" y="425"/>
                  </a:lnTo>
                  <a:lnTo>
                    <a:pt x="135" y="425"/>
                  </a:lnTo>
                  <a:lnTo>
                    <a:pt x="144" y="426"/>
                  </a:lnTo>
                  <a:lnTo>
                    <a:pt x="158" y="419"/>
                  </a:lnTo>
                  <a:lnTo>
                    <a:pt x="170" y="407"/>
                  </a:lnTo>
                  <a:lnTo>
                    <a:pt x="181" y="407"/>
                  </a:lnTo>
                  <a:lnTo>
                    <a:pt x="192" y="409"/>
                  </a:lnTo>
                  <a:lnTo>
                    <a:pt x="200" y="418"/>
                  </a:lnTo>
                  <a:lnTo>
                    <a:pt x="216" y="428"/>
                  </a:lnTo>
                  <a:lnTo>
                    <a:pt x="226" y="426"/>
                  </a:lnTo>
                  <a:lnTo>
                    <a:pt x="252" y="452"/>
                  </a:lnTo>
                  <a:lnTo>
                    <a:pt x="260" y="455"/>
                  </a:lnTo>
                  <a:lnTo>
                    <a:pt x="266" y="466"/>
                  </a:lnTo>
                  <a:lnTo>
                    <a:pt x="282" y="479"/>
                  </a:lnTo>
                  <a:lnTo>
                    <a:pt x="285" y="479"/>
                  </a:lnTo>
                  <a:lnTo>
                    <a:pt x="284" y="461"/>
                  </a:lnTo>
                  <a:lnTo>
                    <a:pt x="289" y="445"/>
                  </a:lnTo>
                  <a:lnTo>
                    <a:pt x="296" y="420"/>
                  </a:lnTo>
                  <a:lnTo>
                    <a:pt x="294" y="409"/>
                  </a:lnTo>
                  <a:lnTo>
                    <a:pt x="298" y="396"/>
                  </a:lnTo>
                  <a:lnTo>
                    <a:pt x="291" y="390"/>
                  </a:lnTo>
                  <a:lnTo>
                    <a:pt x="292" y="382"/>
                  </a:lnTo>
                  <a:lnTo>
                    <a:pt x="298" y="377"/>
                  </a:lnTo>
                  <a:lnTo>
                    <a:pt x="325" y="376"/>
                  </a:lnTo>
                  <a:lnTo>
                    <a:pt x="340" y="364"/>
                  </a:lnTo>
                  <a:lnTo>
                    <a:pt x="346" y="342"/>
                  </a:lnTo>
                  <a:lnTo>
                    <a:pt x="298" y="305"/>
                  </a:lnTo>
                  <a:lnTo>
                    <a:pt x="308" y="293"/>
                  </a:lnTo>
                  <a:lnTo>
                    <a:pt x="300" y="247"/>
                  </a:lnTo>
                  <a:lnTo>
                    <a:pt x="283" y="234"/>
                  </a:lnTo>
                  <a:lnTo>
                    <a:pt x="265" y="200"/>
                  </a:lnTo>
                  <a:lnTo>
                    <a:pt x="274" y="167"/>
                  </a:lnTo>
                  <a:lnTo>
                    <a:pt x="266" y="119"/>
                  </a:lnTo>
                  <a:lnTo>
                    <a:pt x="261" y="121"/>
                  </a:lnTo>
                  <a:lnTo>
                    <a:pt x="258" y="120"/>
                  </a:lnTo>
                  <a:lnTo>
                    <a:pt x="255" y="121"/>
                  </a:lnTo>
                  <a:lnTo>
                    <a:pt x="241" y="121"/>
                  </a:lnTo>
                  <a:lnTo>
                    <a:pt x="228" y="116"/>
                  </a:lnTo>
                  <a:lnTo>
                    <a:pt x="219" y="112"/>
                  </a:lnTo>
                  <a:lnTo>
                    <a:pt x="212" y="103"/>
                  </a:lnTo>
                  <a:lnTo>
                    <a:pt x="208" y="82"/>
                  </a:lnTo>
                  <a:lnTo>
                    <a:pt x="199" y="72"/>
                  </a:lnTo>
                  <a:lnTo>
                    <a:pt x="188" y="70"/>
                  </a:lnTo>
                  <a:lnTo>
                    <a:pt x="174" y="72"/>
                  </a:lnTo>
                  <a:lnTo>
                    <a:pt x="159" y="80"/>
                  </a:lnTo>
                  <a:lnTo>
                    <a:pt x="153" y="85"/>
                  </a:lnTo>
                  <a:lnTo>
                    <a:pt x="147" y="86"/>
                  </a:lnTo>
                  <a:lnTo>
                    <a:pt x="133" y="85"/>
                  </a:lnTo>
                  <a:lnTo>
                    <a:pt x="129" y="82"/>
                  </a:lnTo>
                  <a:lnTo>
                    <a:pt x="128" y="76"/>
                  </a:lnTo>
                  <a:lnTo>
                    <a:pt x="133" y="70"/>
                  </a:lnTo>
                  <a:lnTo>
                    <a:pt x="142" y="60"/>
                  </a:lnTo>
                  <a:lnTo>
                    <a:pt x="128" y="28"/>
                  </a:lnTo>
                  <a:lnTo>
                    <a:pt x="126" y="24"/>
                  </a:lnTo>
                  <a:lnTo>
                    <a:pt x="127" y="17"/>
                  </a:lnTo>
                  <a:lnTo>
                    <a:pt x="64" y="6"/>
                  </a:lnTo>
                  <a:lnTo>
                    <a:pt x="62" y="2"/>
                  </a:lnTo>
                  <a:lnTo>
                    <a:pt x="52" y="0"/>
                  </a:lnTo>
                  <a:lnTo>
                    <a:pt x="40" y="5"/>
                  </a:lnTo>
                  <a:lnTo>
                    <a:pt x="36" y="10"/>
                  </a:lnTo>
                  <a:lnTo>
                    <a:pt x="36" y="14"/>
                  </a:lnTo>
                  <a:lnTo>
                    <a:pt x="38" y="20"/>
                  </a:lnTo>
                  <a:lnTo>
                    <a:pt x="40" y="23"/>
                  </a:lnTo>
                  <a:lnTo>
                    <a:pt x="36" y="66"/>
                  </a:lnTo>
                  <a:lnTo>
                    <a:pt x="38" y="72"/>
                  </a:lnTo>
                  <a:lnTo>
                    <a:pt x="38" y="74"/>
                  </a:lnTo>
                  <a:lnTo>
                    <a:pt x="43" y="84"/>
                  </a:lnTo>
                  <a:lnTo>
                    <a:pt x="44" y="92"/>
                  </a:lnTo>
                  <a:lnTo>
                    <a:pt x="42" y="95"/>
                  </a:lnTo>
                  <a:lnTo>
                    <a:pt x="25" y="94"/>
                  </a:lnTo>
                  <a:lnTo>
                    <a:pt x="24" y="95"/>
                  </a:lnTo>
                  <a:lnTo>
                    <a:pt x="21" y="94"/>
                  </a:lnTo>
                  <a:lnTo>
                    <a:pt x="21" y="90"/>
                  </a:lnTo>
                  <a:lnTo>
                    <a:pt x="16" y="86"/>
                  </a:lnTo>
                  <a:lnTo>
                    <a:pt x="14" y="85"/>
                  </a:lnTo>
                  <a:lnTo>
                    <a:pt x="7" y="83"/>
                  </a:lnTo>
                  <a:lnTo>
                    <a:pt x="6" y="79"/>
                  </a:lnTo>
                  <a:lnTo>
                    <a:pt x="1" y="82"/>
                  </a:lnTo>
                  <a:lnTo>
                    <a:pt x="0" y="83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11" name="Freeform 39"/>
            <p:cNvSpPr>
              <a:spLocks/>
            </p:cNvSpPr>
            <p:nvPr/>
          </p:nvSpPr>
          <p:spPr bwMode="auto">
            <a:xfrm>
              <a:off x="3197225" y="3382963"/>
              <a:ext cx="566738" cy="773112"/>
            </a:xfrm>
            <a:custGeom>
              <a:avLst/>
              <a:gdLst>
                <a:gd name="T0" fmla="*/ 628564 w 715"/>
                <a:gd name="T1" fmla="*/ 157815551 h 975"/>
                <a:gd name="T2" fmla="*/ 3769799 w 715"/>
                <a:gd name="T3" fmla="*/ 180449891 h 975"/>
                <a:gd name="T4" fmla="*/ 22617998 w 715"/>
                <a:gd name="T5" fmla="*/ 183593880 h 975"/>
                <a:gd name="T6" fmla="*/ 30785367 w 715"/>
                <a:gd name="T7" fmla="*/ 192396256 h 975"/>
                <a:gd name="T8" fmla="*/ 36440064 w 715"/>
                <a:gd name="T9" fmla="*/ 189881065 h 975"/>
                <a:gd name="T10" fmla="*/ 42094762 w 715"/>
                <a:gd name="T11" fmla="*/ 203085025 h 975"/>
                <a:gd name="T12" fmla="*/ 47749460 w 715"/>
                <a:gd name="T13" fmla="*/ 204971418 h 975"/>
                <a:gd name="T14" fmla="*/ 50890694 w 715"/>
                <a:gd name="T15" fmla="*/ 201198632 h 975"/>
                <a:gd name="T16" fmla="*/ 59686627 w 715"/>
                <a:gd name="T17" fmla="*/ 204971418 h 975"/>
                <a:gd name="T18" fmla="*/ 60942962 w 715"/>
                <a:gd name="T19" fmla="*/ 197426638 h 975"/>
                <a:gd name="T20" fmla="*/ 67853995 w 715"/>
                <a:gd name="T21" fmla="*/ 197426638 h 975"/>
                <a:gd name="T22" fmla="*/ 74765028 w 715"/>
                <a:gd name="T23" fmla="*/ 205600216 h 975"/>
                <a:gd name="T24" fmla="*/ 72252358 w 715"/>
                <a:gd name="T25" fmla="*/ 213773794 h 975"/>
                <a:gd name="T26" fmla="*/ 86074424 w 715"/>
                <a:gd name="T27" fmla="*/ 223833765 h 975"/>
                <a:gd name="T28" fmla="*/ 105551187 w 715"/>
                <a:gd name="T29" fmla="*/ 233264939 h 975"/>
                <a:gd name="T30" fmla="*/ 130054085 w 715"/>
                <a:gd name="T31" fmla="*/ 248354499 h 975"/>
                <a:gd name="T32" fmla="*/ 151414956 w 715"/>
                <a:gd name="T33" fmla="*/ 260300863 h 975"/>
                <a:gd name="T34" fmla="*/ 156441089 w 715"/>
                <a:gd name="T35" fmla="*/ 274133621 h 975"/>
                <a:gd name="T36" fmla="*/ 158325989 w 715"/>
                <a:gd name="T37" fmla="*/ 286708783 h 975"/>
                <a:gd name="T38" fmla="*/ 151414956 w 715"/>
                <a:gd name="T39" fmla="*/ 301169546 h 975"/>
                <a:gd name="T40" fmla="*/ 160839452 w 715"/>
                <a:gd name="T41" fmla="*/ 320031893 h 975"/>
                <a:gd name="T42" fmla="*/ 181572551 w 715"/>
                <a:gd name="T43" fmla="*/ 338894240 h 975"/>
                <a:gd name="T44" fmla="*/ 228693447 w 715"/>
                <a:gd name="T45" fmla="*/ 379134125 h 975"/>
                <a:gd name="T46" fmla="*/ 282725376 w 715"/>
                <a:gd name="T47" fmla="*/ 430062779 h 975"/>
                <a:gd name="T48" fmla="*/ 292149872 w 715"/>
                <a:gd name="T49" fmla="*/ 454583513 h 975"/>
                <a:gd name="T50" fmla="*/ 302202140 w 715"/>
                <a:gd name="T51" fmla="*/ 463385888 h 975"/>
                <a:gd name="T52" fmla="*/ 314767870 w 715"/>
                <a:gd name="T53" fmla="*/ 480362635 h 975"/>
                <a:gd name="T54" fmla="*/ 327333601 w 715"/>
                <a:gd name="T55" fmla="*/ 501111375 h 975"/>
                <a:gd name="T56" fmla="*/ 336129534 w 715"/>
                <a:gd name="T57" fmla="*/ 518087329 h 975"/>
                <a:gd name="T58" fmla="*/ 350579371 w 715"/>
                <a:gd name="T59" fmla="*/ 529404895 h 975"/>
                <a:gd name="T60" fmla="*/ 361888766 w 715"/>
                <a:gd name="T61" fmla="*/ 542608062 h 975"/>
                <a:gd name="T62" fmla="*/ 377595732 w 715"/>
                <a:gd name="T63" fmla="*/ 567129589 h 975"/>
                <a:gd name="T64" fmla="*/ 390789234 w 715"/>
                <a:gd name="T65" fmla="*/ 576560763 h 975"/>
                <a:gd name="T66" fmla="*/ 409638226 w 715"/>
                <a:gd name="T67" fmla="*/ 601710294 h 975"/>
                <a:gd name="T68" fmla="*/ 419061930 w 715"/>
                <a:gd name="T69" fmla="*/ 607369474 h 975"/>
                <a:gd name="T70" fmla="*/ 435397459 w 715"/>
                <a:gd name="T71" fmla="*/ 613027861 h 975"/>
                <a:gd name="T72" fmla="*/ 431627661 w 715"/>
                <a:gd name="T73" fmla="*/ 594794312 h 975"/>
                <a:gd name="T74" fmla="*/ 434141124 w 715"/>
                <a:gd name="T75" fmla="*/ 556440820 h 975"/>
                <a:gd name="T76" fmla="*/ 444821956 w 715"/>
                <a:gd name="T77" fmla="*/ 526889704 h 975"/>
                <a:gd name="T78" fmla="*/ 422831729 w 715"/>
                <a:gd name="T79" fmla="*/ 516200935 h 975"/>
                <a:gd name="T80" fmla="*/ 409009662 w 715"/>
                <a:gd name="T81" fmla="*/ 487907415 h 975"/>
                <a:gd name="T82" fmla="*/ 390161463 w 715"/>
                <a:gd name="T83" fmla="*/ 433205975 h 975"/>
                <a:gd name="T84" fmla="*/ 375710833 w 715"/>
                <a:gd name="T85" fmla="*/ 384164507 h 975"/>
                <a:gd name="T86" fmla="*/ 348695264 w 715"/>
                <a:gd name="T87" fmla="*/ 369702951 h 975"/>
                <a:gd name="T88" fmla="*/ 322935239 w 715"/>
                <a:gd name="T89" fmla="*/ 371589345 h 975"/>
                <a:gd name="T90" fmla="*/ 303458475 w 715"/>
                <a:gd name="T91" fmla="*/ 327576673 h 975"/>
                <a:gd name="T92" fmla="*/ 282097605 w 715"/>
                <a:gd name="T93" fmla="*/ 304942333 h 975"/>
                <a:gd name="T94" fmla="*/ 263877176 w 715"/>
                <a:gd name="T95" fmla="*/ 259043268 h 975"/>
                <a:gd name="T96" fmla="*/ 268275538 w 715"/>
                <a:gd name="T97" fmla="*/ 213144996 h 975"/>
                <a:gd name="T98" fmla="*/ 251311445 w 715"/>
                <a:gd name="T99" fmla="*/ 164102735 h 975"/>
                <a:gd name="T100" fmla="*/ 232463245 w 715"/>
                <a:gd name="T101" fmla="*/ 131407631 h 975"/>
                <a:gd name="T102" fmla="*/ 192881946 w 715"/>
                <a:gd name="T103" fmla="*/ 123234053 h 975"/>
                <a:gd name="T104" fmla="*/ 180943987 w 715"/>
                <a:gd name="T105" fmla="*/ 67275810 h 975"/>
                <a:gd name="T106" fmla="*/ 161468016 w 715"/>
                <a:gd name="T107" fmla="*/ 13832758 h 975"/>
                <a:gd name="T108" fmla="*/ 132566756 w 715"/>
                <a:gd name="T109" fmla="*/ 1886393 h 975"/>
                <a:gd name="T110" fmla="*/ 116859790 w 715"/>
                <a:gd name="T111" fmla="*/ 32695105 h 975"/>
                <a:gd name="T112" fmla="*/ 28900467 w 715"/>
                <a:gd name="T113" fmla="*/ 88024550 h 975"/>
                <a:gd name="T114" fmla="*/ 17591865 w 715"/>
                <a:gd name="T115" fmla="*/ 110659683 h 975"/>
                <a:gd name="T116" fmla="*/ 0 w 715"/>
                <a:gd name="T117" fmla="*/ 140839597 h 97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5"/>
                <a:gd name="T178" fmla="*/ 0 h 975"/>
                <a:gd name="T179" fmla="*/ 715 w 715"/>
                <a:gd name="T180" fmla="*/ 975 h 97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5" h="975">
                  <a:moveTo>
                    <a:pt x="0" y="224"/>
                  </a:moveTo>
                  <a:lnTo>
                    <a:pt x="1" y="230"/>
                  </a:lnTo>
                  <a:lnTo>
                    <a:pt x="5" y="233"/>
                  </a:lnTo>
                  <a:lnTo>
                    <a:pt x="6" y="236"/>
                  </a:lnTo>
                  <a:lnTo>
                    <a:pt x="1" y="251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5" y="261"/>
                  </a:lnTo>
                  <a:lnTo>
                    <a:pt x="6" y="279"/>
                  </a:lnTo>
                  <a:lnTo>
                    <a:pt x="6" y="287"/>
                  </a:lnTo>
                  <a:lnTo>
                    <a:pt x="10" y="290"/>
                  </a:lnTo>
                  <a:lnTo>
                    <a:pt x="13" y="288"/>
                  </a:lnTo>
                  <a:lnTo>
                    <a:pt x="19" y="287"/>
                  </a:lnTo>
                  <a:lnTo>
                    <a:pt x="28" y="288"/>
                  </a:lnTo>
                  <a:lnTo>
                    <a:pt x="36" y="292"/>
                  </a:lnTo>
                  <a:lnTo>
                    <a:pt x="43" y="297"/>
                  </a:lnTo>
                  <a:lnTo>
                    <a:pt x="47" y="303"/>
                  </a:lnTo>
                  <a:lnTo>
                    <a:pt x="47" y="305"/>
                  </a:lnTo>
                  <a:lnTo>
                    <a:pt x="48" y="306"/>
                  </a:lnTo>
                  <a:lnTo>
                    <a:pt x="49" y="306"/>
                  </a:lnTo>
                  <a:lnTo>
                    <a:pt x="51" y="306"/>
                  </a:lnTo>
                  <a:lnTo>
                    <a:pt x="48" y="304"/>
                  </a:lnTo>
                  <a:lnTo>
                    <a:pt x="49" y="302"/>
                  </a:lnTo>
                  <a:lnTo>
                    <a:pt x="51" y="300"/>
                  </a:lnTo>
                  <a:lnTo>
                    <a:pt x="58" y="302"/>
                  </a:lnTo>
                  <a:lnTo>
                    <a:pt x="59" y="304"/>
                  </a:lnTo>
                  <a:lnTo>
                    <a:pt x="58" y="310"/>
                  </a:lnTo>
                  <a:lnTo>
                    <a:pt x="64" y="318"/>
                  </a:lnTo>
                  <a:lnTo>
                    <a:pt x="64" y="321"/>
                  </a:lnTo>
                  <a:lnTo>
                    <a:pt x="67" y="323"/>
                  </a:lnTo>
                  <a:lnTo>
                    <a:pt x="70" y="327"/>
                  </a:lnTo>
                  <a:lnTo>
                    <a:pt x="71" y="327"/>
                  </a:lnTo>
                  <a:lnTo>
                    <a:pt x="73" y="327"/>
                  </a:lnTo>
                  <a:lnTo>
                    <a:pt x="76" y="327"/>
                  </a:lnTo>
                  <a:lnTo>
                    <a:pt x="76" y="326"/>
                  </a:lnTo>
                  <a:lnTo>
                    <a:pt x="75" y="324"/>
                  </a:lnTo>
                  <a:lnTo>
                    <a:pt x="73" y="321"/>
                  </a:lnTo>
                  <a:lnTo>
                    <a:pt x="76" y="320"/>
                  </a:lnTo>
                  <a:lnTo>
                    <a:pt x="77" y="320"/>
                  </a:lnTo>
                  <a:lnTo>
                    <a:pt x="81" y="320"/>
                  </a:lnTo>
                  <a:lnTo>
                    <a:pt x="83" y="321"/>
                  </a:lnTo>
                  <a:lnTo>
                    <a:pt x="85" y="322"/>
                  </a:lnTo>
                  <a:lnTo>
                    <a:pt x="89" y="322"/>
                  </a:lnTo>
                  <a:lnTo>
                    <a:pt x="91" y="328"/>
                  </a:lnTo>
                  <a:lnTo>
                    <a:pt x="95" y="326"/>
                  </a:lnTo>
                  <a:lnTo>
                    <a:pt x="96" y="326"/>
                  </a:lnTo>
                  <a:lnTo>
                    <a:pt x="97" y="323"/>
                  </a:lnTo>
                  <a:lnTo>
                    <a:pt x="99" y="321"/>
                  </a:lnTo>
                  <a:lnTo>
                    <a:pt x="96" y="317"/>
                  </a:lnTo>
                  <a:lnTo>
                    <a:pt x="97" y="314"/>
                  </a:lnTo>
                  <a:lnTo>
                    <a:pt x="102" y="310"/>
                  </a:lnTo>
                  <a:lnTo>
                    <a:pt x="105" y="309"/>
                  </a:lnTo>
                  <a:lnTo>
                    <a:pt x="108" y="309"/>
                  </a:lnTo>
                  <a:lnTo>
                    <a:pt x="108" y="310"/>
                  </a:lnTo>
                  <a:lnTo>
                    <a:pt x="108" y="314"/>
                  </a:lnTo>
                  <a:lnTo>
                    <a:pt x="111" y="315"/>
                  </a:lnTo>
                  <a:lnTo>
                    <a:pt x="111" y="317"/>
                  </a:lnTo>
                  <a:lnTo>
                    <a:pt x="112" y="320"/>
                  </a:lnTo>
                  <a:lnTo>
                    <a:pt x="119" y="322"/>
                  </a:lnTo>
                  <a:lnTo>
                    <a:pt x="119" y="327"/>
                  </a:lnTo>
                  <a:lnTo>
                    <a:pt x="117" y="330"/>
                  </a:lnTo>
                  <a:lnTo>
                    <a:pt x="118" y="332"/>
                  </a:lnTo>
                  <a:lnTo>
                    <a:pt x="118" y="334"/>
                  </a:lnTo>
                  <a:lnTo>
                    <a:pt x="114" y="339"/>
                  </a:lnTo>
                  <a:lnTo>
                    <a:pt x="115" y="340"/>
                  </a:lnTo>
                  <a:lnTo>
                    <a:pt x="114" y="344"/>
                  </a:lnTo>
                  <a:lnTo>
                    <a:pt x="115" y="348"/>
                  </a:lnTo>
                  <a:lnTo>
                    <a:pt x="118" y="350"/>
                  </a:lnTo>
                  <a:lnTo>
                    <a:pt x="121" y="351"/>
                  </a:lnTo>
                  <a:lnTo>
                    <a:pt x="137" y="356"/>
                  </a:lnTo>
                  <a:lnTo>
                    <a:pt x="160" y="365"/>
                  </a:lnTo>
                  <a:lnTo>
                    <a:pt x="161" y="365"/>
                  </a:lnTo>
                  <a:lnTo>
                    <a:pt x="162" y="366"/>
                  </a:lnTo>
                  <a:lnTo>
                    <a:pt x="167" y="370"/>
                  </a:lnTo>
                  <a:lnTo>
                    <a:pt x="168" y="371"/>
                  </a:lnTo>
                  <a:lnTo>
                    <a:pt x="177" y="376"/>
                  </a:lnTo>
                  <a:lnTo>
                    <a:pt x="179" y="380"/>
                  </a:lnTo>
                  <a:lnTo>
                    <a:pt x="187" y="393"/>
                  </a:lnTo>
                  <a:lnTo>
                    <a:pt x="204" y="394"/>
                  </a:lnTo>
                  <a:lnTo>
                    <a:pt x="207" y="395"/>
                  </a:lnTo>
                  <a:lnTo>
                    <a:pt x="215" y="398"/>
                  </a:lnTo>
                  <a:lnTo>
                    <a:pt x="217" y="399"/>
                  </a:lnTo>
                  <a:lnTo>
                    <a:pt x="228" y="411"/>
                  </a:lnTo>
                  <a:lnTo>
                    <a:pt x="234" y="412"/>
                  </a:lnTo>
                  <a:lnTo>
                    <a:pt x="241" y="414"/>
                  </a:lnTo>
                  <a:lnTo>
                    <a:pt x="244" y="416"/>
                  </a:lnTo>
                  <a:lnTo>
                    <a:pt x="250" y="420"/>
                  </a:lnTo>
                  <a:lnTo>
                    <a:pt x="252" y="429"/>
                  </a:lnTo>
                  <a:lnTo>
                    <a:pt x="249" y="435"/>
                  </a:lnTo>
                  <a:lnTo>
                    <a:pt x="249" y="436"/>
                  </a:lnTo>
                  <a:lnTo>
                    <a:pt x="251" y="437"/>
                  </a:lnTo>
                  <a:lnTo>
                    <a:pt x="256" y="440"/>
                  </a:lnTo>
                  <a:lnTo>
                    <a:pt x="256" y="449"/>
                  </a:lnTo>
                  <a:lnTo>
                    <a:pt x="252" y="453"/>
                  </a:lnTo>
                  <a:lnTo>
                    <a:pt x="252" y="456"/>
                  </a:lnTo>
                  <a:lnTo>
                    <a:pt x="253" y="456"/>
                  </a:lnTo>
                  <a:lnTo>
                    <a:pt x="255" y="464"/>
                  </a:lnTo>
                  <a:lnTo>
                    <a:pt x="252" y="467"/>
                  </a:lnTo>
                  <a:lnTo>
                    <a:pt x="246" y="478"/>
                  </a:lnTo>
                  <a:lnTo>
                    <a:pt x="241" y="479"/>
                  </a:lnTo>
                  <a:lnTo>
                    <a:pt x="250" y="489"/>
                  </a:lnTo>
                  <a:lnTo>
                    <a:pt x="252" y="494"/>
                  </a:lnTo>
                  <a:lnTo>
                    <a:pt x="250" y="501"/>
                  </a:lnTo>
                  <a:lnTo>
                    <a:pt x="251" y="503"/>
                  </a:lnTo>
                  <a:lnTo>
                    <a:pt x="256" y="509"/>
                  </a:lnTo>
                  <a:lnTo>
                    <a:pt x="264" y="518"/>
                  </a:lnTo>
                  <a:lnTo>
                    <a:pt x="286" y="534"/>
                  </a:lnTo>
                  <a:lnTo>
                    <a:pt x="287" y="533"/>
                  </a:lnTo>
                  <a:lnTo>
                    <a:pt x="291" y="537"/>
                  </a:lnTo>
                  <a:lnTo>
                    <a:pt x="289" y="539"/>
                  </a:lnTo>
                  <a:lnTo>
                    <a:pt x="292" y="543"/>
                  </a:lnTo>
                  <a:lnTo>
                    <a:pt x="340" y="580"/>
                  </a:lnTo>
                  <a:lnTo>
                    <a:pt x="359" y="599"/>
                  </a:lnTo>
                  <a:lnTo>
                    <a:pt x="361" y="599"/>
                  </a:lnTo>
                  <a:lnTo>
                    <a:pt x="364" y="603"/>
                  </a:lnTo>
                  <a:lnTo>
                    <a:pt x="373" y="609"/>
                  </a:lnTo>
                  <a:lnTo>
                    <a:pt x="381" y="615"/>
                  </a:lnTo>
                  <a:lnTo>
                    <a:pt x="400" y="632"/>
                  </a:lnTo>
                  <a:lnTo>
                    <a:pt x="435" y="665"/>
                  </a:lnTo>
                  <a:lnTo>
                    <a:pt x="450" y="684"/>
                  </a:lnTo>
                  <a:lnTo>
                    <a:pt x="453" y="693"/>
                  </a:lnTo>
                  <a:lnTo>
                    <a:pt x="460" y="704"/>
                  </a:lnTo>
                  <a:lnTo>
                    <a:pt x="460" y="706"/>
                  </a:lnTo>
                  <a:lnTo>
                    <a:pt x="465" y="713"/>
                  </a:lnTo>
                  <a:lnTo>
                    <a:pt x="465" y="723"/>
                  </a:lnTo>
                  <a:lnTo>
                    <a:pt x="467" y="724"/>
                  </a:lnTo>
                  <a:lnTo>
                    <a:pt x="474" y="732"/>
                  </a:lnTo>
                  <a:lnTo>
                    <a:pt x="475" y="734"/>
                  </a:lnTo>
                  <a:lnTo>
                    <a:pt x="479" y="736"/>
                  </a:lnTo>
                  <a:lnTo>
                    <a:pt x="481" y="737"/>
                  </a:lnTo>
                  <a:lnTo>
                    <a:pt x="485" y="741"/>
                  </a:lnTo>
                  <a:lnTo>
                    <a:pt x="490" y="750"/>
                  </a:lnTo>
                  <a:lnTo>
                    <a:pt x="496" y="755"/>
                  </a:lnTo>
                  <a:lnTo>
                    <a:pt x="499" y="764"/>
                  </a:lnTo>
                  <a:lnTo>
                    <a:pt x="501" y="764"/>
                  </a:lnTo>
                  <a:lnTo>
                    <a:pt x="507" y="770"/>
                  </a:lnTo>
                  <a:lnTo>
                    <a:pt x="510" y="773"/>
                  </a:lnTo>
                  <a:lnTo>
                    <a:pt x="521" y="789"/>
                  </a:lnTo>
                  <a:lnTo>
                    <a:pt x="523" y="797"/>
                  </a:lnTo>
                  <a:lnTo>
                    <a:pt x="521" y="797"/>
                  </a:lnTo>
                  <a:lnTo>
                    <a:pt x="525" y="801"/>
                  </a:lnTo>
                  <a:lnTo>
                    <a:pt x="527" y="809"/>
                  </a:lnTo>
                  <a:lnTo>
                    <a:pt x="533" y="815"/>
                  </a:lnTo>
                  <a:lnTo>
                    <a:pt x="533" y="826"/>
                  </a:lnTo>
                  <a:lnTo>
                    <a:pt x="535" y="824"/>
                  </a:lnTo>
                  <a:lnTo>
                    <a:pt x="535" y="826"/>
                  </a:lnTo>
                  <a:lnTo>
                    <a:pt x="537" y="824"/>
                  </a:lnTo>
                  <a:lnTo>
                    <a:pt x="549" y="832"/>
                  </a:lnTo>
                  <a:lnTo>
                    <a:pt x="557" y="844"/>
                  </a:lnTo>
                  <a:lnTo>
                    <a:pt x="558" y="842"/>
                  </a:lnTo>
                  <a:lnTo>
                    <a:pt x="559" y="843"/>
                  </a:lnTo>
                  <a:lnTo>
                    <a:pt x="559" y="846"/>
                  </a:lnTo>
                  <a:lnTo>
                    <a:pt x="564" y="850"/>
                  </a:lnTo>
                  <a:lnTo>
                    <a:pt x="569" y="856"/>
                  </a:lnTo>
                  <a:lnTo>
                    <a:pt x="576" y="863"/>
                  </a:lnTo>
                  <a:lnTo>
                    <a:pt x="581" y="870"/>
                  </a:lnTo>
                  <a:lnTo>
                    <a:pt x="591" y="881"/>
                  </a:lnTo>
                  <a:lnTo>
                    <a:pt x="593" y="886"/>
                  </a:lnTo>
                  <a:lnTo>
                    <a:pt x="600" y="894"/>
                  </a:lnTo>
                  <a:lnTo>
                    <a:pt x="601" y="902"/>
                  </a:lnTo>
                  <a:lnTo>
                    <a:pt x="604" y="903"/>
                  </a:lnTo>
                  <a:lnTo>
                    <a:pt x="604" y="899"/>
                  </a:lnTo>
                  <a:lnTo>
                    <a:pt x="605" y="902"/>
                  </a:lnTo>
                  <a:lnTo>
                    <a:pt x="618" y="912"/>
                  </a:lnTo>
                  <a:lnTo>
                    <a:pt x="622" y="917"/>
                  </a:lnTo>
                  <a:lnTo>
                    <a:pt x="624" y="918"/>
                  </a:lnTo>
                  <a:lnTo>
                    <a:pt x="627" y="921"/>
                  </a:lnTo>
                  <a:lnTo>
                    <a:pt x="640" y="934"/>
                  </a:lnTo>
                  <a:lnTo>
                    <a:pt x="651" y="952"/>
                  </a:lnTo>
                  <a:lnTo>
                    <a:pt x="652" y="957"/>
                  </a:lnTo>
                  <a:lnTo>
                    <a:pt x="652" y="962"/>
                  </a:lnTo>
                  <a:lnTo>
                    <a:pt x="657" y="959"/>
                  </a:lnTo>
                  <a:lnTo>
                    <a:pt x="658" y="963"/>
                  </a:lnTo>
                  <a:lnTo>
                    <a:pt x="665" y="965"/>
                  </a:lnTo>
                  <a:lnTo>
                    <a:pt x="667" y="966"/>
                  </a:lnTo>
                  <a:lnTo>
                    <a:pt x="672" y="970"/>
                  </a:lnTo>
                  <a:lnTo>
                    <a:pt x="672" y="974"/>
                  </a:lnTo>
                  <a:lnTo>
                    <a:pt x="675" y="975"/>
                  </a:lnTo>
                  <a:lnTo>
                    <a:pt x="676" y="974"/>
                  </a:lnTo>
                  <a:lnTo>
                    <a:pt x="693" y="975"/>
                  </a:lnTo>
                  <a:lnTo>
                    <a:pt x="695" y="972"/>
                  </a:lnTo>
                  <a:lnTo>
                    <a:pt x="694" y="964"/>
                  </a:lnTo>
                  <a:lnTo>
                    <a:pt x="689" y="954"/>
                  </a:lnTo>
                  <a:lnTo>
                    <a:pt x="689" y="952"/>
                  </a:lnTo>
                  <a:lnTo>
                    <a:pt x="687" y="946"/>
                  </a:lnTo>
                  <a:lnTo>
                    <a:pt x="691" y="903"/>
                  </a:lnTo>
                  <a:lnTo>
                    <a:pt x="689" y="900"/>
                  </a:lnTo>
                  <a:lnTo>
                    <a:pt x="687" y="894"/>
                  </a:lnTo>
                  <a:lnTo>
                    <a:pt x="687" y="890"/>
                  </a:lnTo>
                  <a:lnTo>
                    <a:pt x="691" y="885"/>
                  </a:lnTo>
                  <a:lnTo>
                    <a:pt x="703" y="880"/>
                  </a:lnTo>
                  <a:lnTo>
                    <a:pt x="713" y="882"/>
                  </a:lnTo>
                  <a:lnTo>
                    <a:pt x="715" y="862"/>
                  </a:lnTo>
                  <a:lnTo>
                    <a:pt x="715" y="850"/>
                  </a:lnTo>
                  <a:lnTo>
                    <a:pt x="708" y="838"/>
                  </a:lnTo>
                  <a:lnTo>
                    <a:pt x="694" y="836"/>
                  </a:lnTo>
                  <a:lnTo>
                    <a:pt x="683" y="837"/>
                  </a:lnTo>
                  <a:lnTo>
                    <a:pt x="679" y="833"/>
                  </a:lnTo>
                  <a:lnTo>
                    <a:pt x="682" y="830"/>
                  </a:lnTo>
                  <a:lnTo>
                    <a:pt x="673" y="821"/>
                  </a:lnTo>
                  <a:lnTo>
                    <a:pt x="671" y="810"/>
                  </a:lnTo>
                  <a:lnTo>
                    <a:pt x="663" y="794"/>
                  </a:lnTo>
                  <a:lnTo>
                    <a:pt x="660" y="790"/>
                  </a:lnTo>
                  <a:lnTo>
                    <a:pt x="657" y="783"/>
                  </a:lnTo>
                  <a:lnTo>
                    <a:pt x="651" y="776"/>
                  </a:lnTo>
                  <a:lnTo>
                    <a:pt x="647" y="771"/>
                  </a:lnTo>
                  <a:lnTo>
                    <a:pt x="645" y="744"/>
                  </a:lnTo>
                  <a:lnTo>
                    <a:pt x="634" y="726"/>
                  </a:lnTo>
                  <a:lnTo>
                    <a:pt x="628" y="714"/>
                  </a:lnTo>
                  <a:lnTo>
                    <a:pt x="621" y="689"/>
                  </a:lnTo>
                  <a:lnTo>
                    <a:pt x="624" y="675"/>
                  </a:lnTo>
                  <a:lnTo>
                    <a:pt x="619" y="663"/>
                  </a:lnTo>
                  <a:lnTo>
                    <a:pt x="621" y="652"/>
                  </a:lnTo>
                  <a:lnTo>
                    <a:pt x="604" y="615"/>
                  </a:lnTo>
                  <a:lnTo>
                    <a:pt x="598" y="611"/>
                  </a:lnTo>
                  <a:lnTo>
                    <a:pt x="587" y="593"/>
                  </a:lnTo>
                  <a:lnTo>
                    <a:pt x="583" y="591"/>
                  </a:lnTo>
                  <a:lnTo>
                    <a:pt x="574" y="582"/>
                  </a:lnTo>
                  <a:lnTo>
                    <a:pt x="565" y="586"/>
                  </a:lnTo>
                  <a:lnTo>
                    <a:pt x="555" y="588"/>
                  </a:lnTo>
                  <a:lnTo>
                    <a:pt x="551" y="591"/>
                  </a:lnTo>
                  <a:lnTo>
                    <a:pt x="543" y="591"/>
                  </a:lnTo>
                  <a:lnTo>
                    <a:pt x="534" y="596"/>
                  </a:lnTo>
                  <a:lnTo>
                    <a:pt x="523" y="597"/>
                  </a:lnTo>
                  <a:lnTo>
                    <a:pt x="514" y="591"/>
                  </a:lnTo>
                  <a:lnTo>
                    <a:pt x="504" y="572"/>
                  </a:lnTo>
                  <a:lnTo>
                    <a:pt x="499" y="558"/>
                  </a:lnTo>
                  <a:lnTo>
                    <a:pt x="498" y="551"/>
                  </a:lnTo>
                  <a:lnTo>
                    <a:pt x="491" y="536"/>
                  </a:lnTo>
                  <a:lnTo>
                    <a:pt x="483" y="521"/>
                  </a:lnTo>
                  <a:lnTo>
                    <a:pt x="477" y="508"/>
                  </a:lnTo>
                  <a:lnTo>
                    <a:pt x="469" y="500"/>
                  </a:lnTo>
                  <a:lnTo>
                    <a:pt x="460" y="486"/>
                  </a:lnTo>
                  <a:lnTo>
                    <a:pt x="453" y="485"/>
                  </a:lnTo>
                  <a:lnTo>
                    <a:pt x="449" y="485"/>
                  </a:lnTo>
                  <a:lnTo>
                    <a:pt x="445" y="482"/>
                  </a:lnTo>
                  <a:lnTo>
                    <a:pt x="436" y="472"/>
                  </a:lnTo>
                  <a:lnTo>
                    <a:pt x="429" y="452"/>
                  </a:lnTo>
                  <a:lnTo>
                    <a:pt x="421" y="431"/>
                  </a:lnTo>
                  <a:lnTo>
                    <a:pt x="420" y="412"/>
                  </a:lnTo>
                  <a:lnTo>
                    <a:pt x="418" y="395"/>
                  </a:lnTo>
                  <a:lnTo>
                    <a:pt x="419" y="377"/>
                  </a:lnTo>
                  <a:lnTo>
                    <a:pt x="423" y="365"/>
                  </a:lnTo>
                  <a:lnTo>
                    <a:pt x="426" y="357"/>
                  </a:lnTo>
                  <a:lnTo>
                    <a:pt x="427" y="339"/>
                  </a:lnTo>
                  <a:lnTo>
                    <a:pt x="427" y="323"/>
                  </a:lnTo>
                  <a:lnTo>
                    <a:pt x="427" y="315"/>
                  </a:lnTo>
                  <a:lnTo>
                    <a:pt x="425" y="294"/>
                  </a:lnTo>
                  <a:lnTo>
                    <a:pt x="417" y="282"/>
                  </a:lnTo>
                  <a:lnTo>
                    <a:pt x="400" y="261"/>
                  </a:lnTo>
                  <a:lnTo>
                    <a:pt x="388" y="257"/>
                  </a:lnTo>
                  <a:lnTo>
                    <a:pt x="383" y="246"/>
                  </a:lnTo>
                  <a:lnTo>
                    <a:pt x="381" y="225"/>
                  </a:lnTo>
                  <a:lnTo>
                    <a:pt x="378" y="215"/>
                  </a:lnTo>
                  <a:lnTo>
                    <a:pt x="370" y="209"/>
                  </a:lnTo>
                  <a:lnTo>
                    <a:pt x="360" y="210"/>
                  </a:lnTo>
                  <a:lnTo>
                    <a:pt x="345" y="208"/>
                  </a:lnTo>
                  <a:lnTo>
                    <a:pt x="323" y="202"/>
                  </a:lnTo>
                  <a:lnTo>
                    <a:pt x="316" y="202"/>
                  </a:lnTo>
                  <a:lnTo>
                    <a:pt x="307" y="196"/>
                  </a:lnTo>
                  <a:lnTo>
                    <a:pt x="306" y="192"/>
                  </a:lnTo>
                  <a:lnTo>
                    <a:pt x="299" y="188"/>
                  </a:lnTo>
                  <a:lnTo>
                    <a:pt x="295" y="160"/>
                  </a:lnTo>
                  <a:lnTo>
                    <a:pt x="295" y="143"/>
                  </a:lnTo>
                  <a:lnTo>
                    <a:pt x="288" y="107"/>
                  </a:lnTo>
                  <a:lnTo>
                    <a:pt x="279" y="88"/>
                  </a:lnTo>
                  <a:lnTo>
                    <a:pt x="274" y="63"/>
                  </a:lnTo>
                  <a:lnTo>
                    <a:pt x="268" y="48"/>
                  </a:lnTo>
                  <a:lnTo>
                    <a:pt x="265" y="36"/>
                  </a:lnTo>
                  <a:lnTo>
                    <a:pt x="257" y="22"/>
                  </a:lnTo>
                  <a:lnTo>
                    <a:pt x="243" y="15"/>
                  </a:lnTo>
                  <a:lnTo>
                    <a:pt x="229" y="4"/>
                  </a:lnTo>
                  <a:lnTo>
                    <a:pt x="222" y="2"/>
                  </a:lnTo>
                  <a:lnTo>
                    <a:pt x="216" y="3"/>
                  </a:lnTo>
                  <a:lnTo>
                    <a:pt x="211" y="3"/>
                  </a:lnTo>
                  <a:lnTo>
                    <a:pt x="205" y="0"/>
                  </a:lnTo>
                  <a:lnTo>
                    <a:pt x="186" y="12"/>
                  </a:lnTo>
                  <a:lnTo>
                    <a:pt x="186" y="34"/>
                  </a:lnTo>
                  <a:lnTo>
                    <a:pt x="190" y="46"/>
                  </a:lnTo>
                  <a:lnTo>
                    <a:pt x="186" y="52"/>
                  </a:lnTo>
                  <a:lnTo>
                    <a:pt x="167" y="77"/>
                  </a:lnTo>
                  <a:lnTo>
                    <a:pt x="141" y="99"/>
                  </a:lnTo>
                  <a:lnTo>
                    <a:pt x="81" y="136"/>
                  </a:lnTo>
                  <a:lnTo>
                    <a:pt x="53" y="158"/>
                  </a:lnTo>
                  <a:lnTo>
                    <a:pt x="46" y="140"/>
                  </a:lnTo>
                  <a:lnTo>
                    <a:pt x="42" y="138"/>
                  </a:lnTo>
                  <a:lnTo>
                    <a:pt x="41" y="146"/>
                  </a:lnTo>
                  <a:lnTo>
                    <a:pt x="42" y="150"/>
                  </a:lnTo>
                  <a:lnTo>
                    <a:pt x="35" y="156"/>
                  </a:lnTo>
                  <a:lnTo>
                    <a:pt x="28" y="176"/>
                  </a:lnTo>
                  <a:lnTo>
                    <a:pt x="16" y="192"/>
                  </a:lnTo>
                  <a:lnTo>
                    <a:pt x="15" y="194"/>
                  </a:lnTo>
                  <a:lnTo>
                    <a:pt x="5" y="210"/>
                  </a:lnTo>
                  <a:lnTo>
                    <a:pt x="4" y="214"/>
                  </a:lnTo>
                  <a:lnTo>
                    <a:pt x="0" y="224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12" name="Freeform 40"/>
            <p:cNvSpPr>
              <a:spLocks/>
            </p:cNvSpPr>
            <p:nvPr/>
          </p:nvSpPr>
          <p:spPr bwMode="auto">
            <a:xfrm>
              <a:off x="2470150" y="2420938"/>
              <a:ext cx="893763" cy="1087437"/>
            </a:xfrm>
            <a:custGeom>
              <a:avLst/>
              <a:gdLst>
                <a:gd name="T0" fmla="*/ 709424778 w 1126"/>
                <a:gd name="T1" fmla="*/ 369922114 h 1371"/>
                <a:gd name="T2" fmla="*/ 693043356 w 1126"/>
                <a:gd name="T3" fmla="*/ 558028885 h 1371"/>
                <a:gd name="T4" fmla="*/ 674772809 w 1126"/>
                <a:gd name="T5" fmla="*/ 604584038 h 1371"/>
                <a:gd name="T6" fmla="*/ 638860364 w 1126"/>
                <a:gd name="T7" fmla="*/ 602697085 h 1371"/>
                <a:gd name="T8" fmla="*/ 640120046 w 1126"/>
                <a:gd name="T9" fmla="*/ 639815094 h 1371"/>
                <a:gd name="T10" fmla="*/ 671622413 w 1126"/>
                <a:gd name="T11" fmla="*/ 694547836 h 1371"/>
                <a:gd name="T12" fmla="*/ 675402253 w 1126"/>
                <a:gd name="T13" fmla="*/ 751798103 h 1371"/>
                <a:gd name="T14" fmla="*/ 681703044 w 1126"/>
                <a:gd name="T15" fmla="*/ 811564306 h 1371"/>
                <a:gd name="T16" fmla="*/ 597907603 w 1126"/>
                <a:gd name="T17" fmla="*/ 824776150 h 1371"/>
                <a:gd name="T18" fmla="*/ 572706027 w 1126"/>
                <a:gd name="T19" fmla="*/ 807160623 h 1371"/>
                <a:gd name="T20" fmla="*/ 550024608 w 1126"/>
                <a:gd name="T21" fmla="*/ 804014908 h 1371"/>
                <a:gd name="T22" fmla="*/ 527973427 w 1126"/>
                <a:gd name="T23" fmla="*/ 762493216 h 1371"/>
                <a:gd name="T24" fmla="*/ 510962561 w 1126"/>
                <a:gd name="T25" fmla="*/ 747394419 h 1371"/>
                <a:gd name="T26" fmla="*/ 485760984 w 1126"/>
                <a:gd name="T27" fmla="*/ 738586259 h 1371"/>
                <a:gd name="T28" fmla="*/ 465599723 w 1126"/>
                <a:gd name="T29" fmla="*/ 720341747 h 1371"/>
                <a:gd name="T30" fmla="*/ 462449327 w 1126"/>
                <a:gd name="T31" fmla="*/ 710276411 h 1371"/>
                <a:gd name="T32" fmla="*/ 458668694 w 1126"/>
                <a:gd name="T33" fmla="*/ 700839266 h 1371"/>
                <a:gd name="T34" fmla="*/ 455519092 w 1126"/>
                <a:gd name="T35" fmla="*/ 680078817 h 1371"/>
                <a:gd name="T36" fmla="*/ 459298932 w 1126"/>
                <a:gd name="T37" fmla="*/ 668124941 h 1371"/>
                <a:gd name="T38" fmla="*/ 461819090 w 1126"/>
                <a:gd name="T39" fmla="*/ 651139191 h 1371"/>
                <a:gd name="T40" fmla="*/ 452368697 w 1126"/>
                <a:gd name="T41" fmla="*/ 642331031 h 1371"/>
                <a:gd name="T42" fmla="*/ 430946960 w 1126"/>
                <a:gd name="T43" fmla="*/ 642331031 h 1371"/>
                <a:gd name="T44" fmla="*/ 418346172 w 1126"/>
                <a:gd name="T45" fmla="*/ 632894679 h 1371"/>
                <a:gd name="T46" fmla="*/ 408895779 w 1126"/>
                <a:gd name="T47" fmla="*/ 631006933 h 1371"/>
                <a:gd name="T48" fmla="*/ 404485701 w 1126"/>
                <a:gd name="T49" fmla="*/ 632894679 h 1371"/>
                <a:gd name="T50" fmla="*/ 402595781 w 1126"/>
                <a:gd name="T51" fmla="*/ 627232234 h 1371"/>
                <a:gd name="T52" fmla="*/ 391884913 w 1126"/>
                <a:gd name="T53" fmla="*/ 617795882 h 1371"/>
                <a:gd name="T54" fmla="*/ 386214360 w 1126"/>
                <a:gd name="T55" fmla="*/ 611504453 h 1371"/>
                <a:gd name="T56" fmla="*/ 383694202 w 1126"/>
                <a:gd name="T57" fmla="*/ 605842007 h 1371"/>
                <a:gd name="T58" fmla="*/ 376133729 w 1126"/>
                <a:gd name="T59" fmla="*/ 594517909 h 1371"/>
                <a:gd name="T60" fmla="*/ 370463176 w 1126"/>
                <a:gd name="T61" fmla="*/ 583822796 h 1371"/>
                <a:gd name="T62" fmla="*/ 360382545 w 1126"/>
                <a:gd name="T63" fmla="*/ 569352983 h 1371"/>
                <a:gd name="T64" fmla="*/ 338961602 w 1126"/>
                <a:gd name="T65" fmla="*/ 553625202 h 1371"/>
                <a:gd name="T66" fmla="*/ 323210418 w 1126"/>
                <a:gd name="T67" fmla="*/ 529090053 h 1371"/>
                <a:gd name="T68" fmla="*/ 316280183 w 1126"/>
                <a:gd name="T69" fmla="*/ 519023924 h 1371"/>
                <a:gd name="T70" fmla="*/ 299898762 w 1126"/>
                <a:gd name="T71" fmla="*/ 491342267 h 1371"/>
                <a:gd name="T72" fmla="*/ 292338289 w 1126"/>
                <a:gd name="T73" fmla="*/ 476243470 h 1371"/>
                <a:gd name="T74" fmla="*/ 289187893 w 1126"/>
                <a:gd name="T75" fmla="*/ 463032420 h 1371"/>
                <a:gd name="T76" fmla="*/ 277847580 w 1126"/>
                <a:gd name="T77" fmla="*/ 447303845 h 1371"/>
                <a:gd name="T78" fmla="*/ 273437503 w 1126"/>
                <a:gd name="T79" fmla="*/ 418993997 h 1371"/>
                <a:gd name="T80" fmla="*/ 262096397 w 1126"/>
                <a:gd name="T81" fmla="*/ 403265423 h 1371"/>
                <a:gd name="T82" fmla="*/ 245715769 w 1126"/>
                <a:gd name="T83" fmla="*/ 364889446 h 1371"/>
                <a:gd name="T84" fmla="*/ 240045216 w 1126"/>
                <a:gd name="T85" fmla="*/ 330288168 h 1371"/>
                <a:gd name="T86" fmla="*/ 231854505 w 1126"/>
                <a:gd name="T87" fmla="*/ 308897941 h 1371"/>
                <a:gd name="T88" fmla="*/ 207913404 w 1126"/>
                <a:gd name="T89" fmla="*/ 249131737 h 1371"/>
                <a:gd name="T90" fmla="*/ 208542848 w 1126"/>
                <a:gd name="T91" fmla="*/ 212013729 h 1371"/>
                <a:gd name="T92" fmla="*/ 219253716 w 1126"/>
                <a:gd name="T93" fmla="*/ 201947600 h 1371"/>
                <a:gd name="T94" fmla="*/ 210433561 w 1126"/>
                <a:gd name="T95" fmla="*/ 195027186 h 1371"/>
                <a:gd name="T96" fmla="*/ 177671512 w 1126"/>
                <a:gd name="T97" fmla="*/ 180557373 h 1371"/>
                <a:gd name="T98" fmla="*/ 154990093 w 1126"/>
                <a:gd name="T99" fmla="*/ 169862260 h 1371"/>
                <a:gd name="T100" fmla="*/ 151209460 w 1126"/>
                <a:gd name="T101" fmla="*/ 147214064 h 1371"/>
                <a:gd name="T102" fmla="*/ 132308674 w 1126"/>
                <a:gd name="T103" fmla="*/ 137776920 h 1371"/>
                <a:gd name="T104" fmla="*/ 120967568 w 1126"/>
                <a:gd name="T105" fmla="*/ 135889966 h 1371"/>
                <a:gd name="T106" fmla="*/ 97026467 w 1126"/>
                <a:gd name="T107" fmla="*/ 145326318 h 1371"/>
                <a:gd name="T108" fmla="*/ 77494650 w 1126"/>
                <a:gd name="T109" fmla="*/ 128340568 h 1371"/>
                <a:gd name="T110" fmla="*/ 62373704 w 1126"/>
                <a:gd name="T111" fmla="*/ 116387486 h 1371"/>
                <a:gd name="T112" fmla="*/ 45362838 w 1126"/>
                <a:gd name="T113" fmla="*/ 105692372 h 1371"/>
                <a:gd name="T114" fmla="*/ 28982210 w 1126"/>
                <a:gd name="T115" fmla="*/ 100029927 h 1371"/>
                <a:gd name="T116" fmla="*/ 0 w 1126"/>
                <a:gd name="T117" fmla="*/ 74236016 h 1371"/>
                <a:gd name="T118" fmla="*/ 24571339 w 1126"/>
                <a:gd name="T119" fmla="*/ 15098797 h 1371"/>
                <a:gd name="T120" fmla="*/ 410785699 w 1126"/>
                <a:gd name="T121" fmla="*/ 181815342 h 137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126"/>
                <a:gd name="T184" fmla="*/ 0 h 1371"/>
                <a:gd name="T185" fmla="*/ 1126 w 1126"/>
                <a:gd name="T186" fmla="*/ 1371 h 137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126" h="1371">
                  <a:moveTo>
                    <a:pt x="1087" y="335"/>
                  </a:moveTo>
                  <a:lnTo>
                    <a:pt x="1074" y="357"/>
                  </a:lnTo>
                  <a:lnTo>
                    <a:pt x="1083" y="354"/>
                  </a:lnTo>
                  <a:lnTo>
                    <a:pt x="1087" y="389"/>
                  </a:lnTo>
                  <a:lnTo>
                    <a:pt x="1102" y="478"/>
                  </a:lnTo>
                  <a:lnTo>
                    <a:pt x="1119" y="525"/>
                  </a:lnTo>
                  <a:lnTo>
                    <a:pt x="1126" y="588"/>
                  </a:lnTo>
                  <a:lnTo>
                    <a:pt x="1112" y="733"/>
                  </a:lnTo>
                  <a:lnTo>
                    <a:pt x="1095" y="731"/>
                  </a:lnTo>
                  <a:lnTo>
                    <a:pt x="1101" y="761"/>
                  </a:lnTo>
                  <a:lnTo>
                    <a:pt x="1104" y="805"/>
                  </a:lnTo>
                  <a:lnTo>
                    <a:pt x="1111" y="845"/>
                  </a:lnTo>
                  <a:lnTo>
                    <a:pt x="1107" y="868"/>
                  </a:lnTo>
                  <a:lnTo>
                    <a:pt x="1100" y="887"/>
                  </a:lnTo>
                  <a:lnTo>
                    <a:pt x="1107" y="910"/>
                  </a:lnTo>
                  <a:lnTo>
                    <a:pt x="1106" y="927"/>
                  </a:lnTo>
                  <a:lnTo>
                    <a:pt x="1106" y="939"/>
                  </a:lnTo>
                  <a:lnTo>
                    <a:pt x="1110" y="953"/>
                  </a:lnTo>
                  <a:lnTo>
                    <a:pt x="1110" y="959"/>
                  </a:lnTo>
                  <a:lnTo>
                    <a:pt x="1092" y="972"/>
                  </a:lnTo>
                  <a:lnTo>
                    <a:pt x="1071" y="961"/>
                  </a:lnTo>
                  <a:lnTo>
                    <a:pt x="1060" y="959"/>
                  </a:lnTo>
                  <a:lnTo>
                    <a:pt x="1038" y="960"/>
                  </a:lnTo>
                  <a:lnTo>
                    <a:pt x="1030" y="959"/>
                  </a:lnTo>
                  <a:lnTo>
                    <a:pt x="1024" y="955"/>
                  </a:lnTo>
                  <a:lnTo>
                    <a:pt x="1020" y="953"/>
                  </a:lnTo>
                  <a:lnTo>
                    <a:pt x="1016" y="955"/>
                  </a:lnTo>
                  <a:lnTo>
                    <a:pt x="1014" y="958"/>
                  </a:lnTo>
                  <a:lnTo>
                    <a:pt x="1005" y="964"/>
                  </a:lnTo>
                  <a:lnTo>
                    <a:pt x="1000" y="969"/>
                  </a:lnTo>
                  <a:lnTo>
                    <a:pt x="1002" y="976"/>
                  </a:lnTo>
                  <a:lnTo>
                    <a:pt x="1002" y="985"/>
                  </a:lnTo>
                  <a:lnTo>
                    <a:pt x="1010" y="1005"/>
                  </a:lnTo>
                  <a:lnTo>
                    <a:pt x="1014" y="1012"/>
                  </a:lnTo>
                  <a:lnTo>
                    <a:pt x="1016" y="1017"/>
                  </a:lnTo>
                  <a:lnTo>
                    <a:pt x="1023" y="1019"/>
                  </a:lnTo>
                  <a:lnTo>
                    <a:pt x="1028" y="1023"/>
                  </a:lnTo>
                  <a:lnTo>
                    <a:pt x="1034" y="1033"/>
                  </a:lnTo>
                  <a:lnTo>
                    <a:pt x="1045" y="1062"/>
                  </a:lnTo>
                  <a:lnTo>
                    <a:pt x="1065" y="1086"/>
                  </a:lnTo>
                  <a:lnTo>
                    <a:pt x="1064" y="1097"/>
                  </a:lnTo>
                  <a:lnTo>
                    <a:pt x="1066" y="1104"/>
                  </a:lnTo>
                  <a:lnTo>
                    <a:pt x="1080" y="1114"/>
                  </a:lnTo>
                  <a:lnTo>
                    <a:pt x="1084" y="1132"/>
                  </a:lnTo>
                  <a:lnTo>
                    <a:pt x="1093" y="1155"/>
                  </a:lnTo>
                  <a:lnTo>
                    <a:pt x="1081" y="1165"/>
                  </a:lnTo>
                  <a:lnTo>
                    <a:pt x="1074" y="1174"/>
                  </a:lnTo>
                  <a:lnTo>
                    <a:pt x="1071" y="1181"/>
                  </a:lnTo>
                  <a:lnTo>
                    <a:pt x="1072" y="1195"/>
                  </a:lnTo>
                  <a:lnTo>
                    <a:pt x="1080" y="1207"/>
                  </a:lnTo>
                  <a:lnTo>
                    <a:pt x="1092" y="1215"/>
                  </a:lnTo>
                  <a:lnTo>
                    <a:pt x="1101" y="1225"/>
                  </a:lnTo>
                  <a:lnTo>
                    <a:pt x="1101" y="1247"/>
                  </a:lnTo>
                  <a:lnTo>
                    <a:pt x="1105" y="1259"/>
                  </a:lnTo>
                  <a:lnTo>
                    <a:pt x="1101" y="1265"/>
                  </a:lnTo>
                  <a:lnTo>
                    <a:pt x="1082" y="1290"/>
                  </a:lnTo>
                  <a:lnTo>
                    <a:pt x="1056" y="1312"/>
                  </a:lnTo>
                  <a:lnTo>
                    <a:pt x="996" y="1349"/>
                  </a:lnTo>
                  <a:lnTo>
                    <a:pt x="968" y="1371"/>
                  </a:lnTo>
                  <a:lnTo>
                    <a:pt x="961" y="1353"/>
                  </a:lnTo>
                  <a:lnTo>
                    <a:pt x="957" y="1351"/>
                  </a:lnTo>
                  <a:lnTo>
                    <a:pt x="956" y="1321"/>
                  </a:lnTo>
                  <a:lnTo>
                    <a:pt x="949" y="1311"/>
                  </a:lnTo>
                  <a:lnTo>
                    <a:pt x="946" y="1307"/>
                  </a:lnTo>
                  <a:lnTo>
                    <a:pt x="940" y="1302"/>
                  </a:lnTo>
                  <a:lnTo>
                    <a:pt x="937" y="1295"/>
                  </a:lnTo>
                  <a:lnTo>
                    <a:pt x="930" y="1288"/>
                  </a:lnTo>
                  <a:lnTo>
                    <a:pt x="918" y="1284"/>
                  </a:lnTo>
                  <a:lnTo>
                    <a:pt x="915" y="1285"/>
                  </a:lnTo>
                  <a:lnTo>
                    <a:pt x="909" y="1283"/>
                  </a:lnTo>
                  <a:lnTo>
                    <a:pt x="906" y="1277"/>
                  </a:lnTo>
                  <a:lnTo>
                    <a:pt x="897" y="1279"/>
                  </a:lnTo>
                  <a:lnTo>
                    <a:pt x="889" y="1279"/>
                  </a:lnTo>
                  <a:lnTo>
                    <a:pt x="885" y="1281"/>
                  </a:lnTo>
                  <a:lnTo>
                    <a:pt x="884" y="1283"/>
                  </a:lnTo>
                  <a:lnTo>
                    <a:pt x="880" y="1283"/>
                  </a:lnTo>
                  <a:lnTo>
                    <a:pt x="873" y="1278"/>
                  </a:lnTo>
                  <a:lnTo>
                    <a:pt x="871" y="1277"/>
                  </a:lnTo>
                  <a:lnTo>
                    <a:pt x="867" y="1275"/>
                  </a:lnTo>
                  <a:lnTo>
                    <a:pt x="864" y="1272"/>
                  </a:lnTo>
                  <a:lnTo>
                    <a:pt x="855" y="1263"/>
                  </a:lnTo>
                  <a:lnTo>
                    <a:pt x="847" y="1230"/>
                  </a:lnTo>
                  <a:lnTo>
                    <a:pt x="837" y="1215"/>
                  </a:lnTo>
                  <a:lnTo>
                    <a:pt x="838" y="1212"/>
                  </a:lnTo>
                  <a:lnTo>
                    <a:pt x="844" y="1210"/>
                  </a:lnTo>
                  <a:lnTo>
                    <a:pt x="843" y="1200"/>
                  </a:lnTo>
                  <a:lnTo>
                    <a:pt x="837" y="1193"/>
                  </a:lnTo>
                  <a:lnTo>
                    <a:pt x="832" y="1189"/>
                  </a:lnTo>
                  <a:lnTo>
                    <a:pt x="819" y="1195"/>
                  </a:lnTo>
                  <a:lnTo>
                    <a:pt x="814" y="1191"/>
                  </a:lnTo>
                  <a:lnTo>
                    <a:pt x="811" y="1188"/>
                  </a:lnTo>
                  <a:lnTo>
                    <a:pt x="804" y="1187"/>
                  </a:lnTo>
                  <a:lnTo>
                    <a:pt x="790" y="1182"/>
                  </a:lnTo>
                  <a:lnTo>
                    <a:pt x="782" y="1180"/>
                  </a:lnTo>
                  <a:lnTo>
                    <a:pt x="783" y="1180"/>
                  </a:lnTo>
                  <a:lnTo>
                    <a:pt x="777" y="1177"/>
                  </a:lnTo>
                  <a:lnTo>
                    <a:pt x="776" y="1179"/>
                  </a:lnTo>
                  <a:lnTo>
                    <a:pt x="771" y="1174"/>
                  </a:lnTo>
                  <a:lnTo>
                    <a:pt x="763" y="1163"/>
                  </a:lnTo>
                  <a:lnTo>
                    <a:pt x="762" y="1161"/>
                  </a:lnTo>
                  <a:lnTo>
                    <a:pt x="754" y="1153"/>
                  </a:lnTo>
                  <a:lnTo>
                    <a:pt x="746" y="1147"/>
                  </a:lnTo>
                  <a:lnTo>
                    <a:pt x="739" y="1146"/>
                  </a:lnTo>
                  <a:lnTo>
                    <a:pt x="738" y="1145"/>
                  </a:lnTo>
                  <a:lnTo>
                    <a:pt x="739" y="1145"/>
                  </a:lnTo>
                  <a:lnTo>
                    <a:pt x="745" y="1140"/>
                  </a:lnTo>
                  <a:lnTo>
                    <a:pt x="746" y="1133"/>
                  </a:lnTo>
                  <a:lnTo>
                    <a:pt x="747" y="1132"/>
                  </a:lnTo>
                  <a:lnTo>
                    <a:pt x="742" y="1127"/>
                  </a:lnTo>
                  <a:lnTo>
                    <a:pt x="738" y="1129"/>
                  </a:lnTo>
                  <a:lnTo>
                    <a:pt x="736" y="1129"/>
                  </a:lnTo>
                  <a:lnTo>
                    <a:pt x="734" y="1129"/>
                  </a:lnTo>
                  <a:lnTo>
                    <a:pt x="732" y="1129"/>
                  </a:lnTo>
                  <a:lnTo>
                    <a:pt x="733" y="1126"/>
                  </a:lnTo>
                  <a:lnTo>
                    <a:pt x="733" y="1121"/>
                  </a:lnTo>
                  <a:lnTo>
                    <a:pt x="733" y="1120"/>
                  </a:lnTo>
                  <a:lnTo>
                    <a:pt x="733" y="1115"/>
                  </a:lnTo>
                  <a:lnTo>
                    <a:pt x="730" y="1115"/>
                  </a:lnTo>
                  <a:lnTo>
                    <a:pt x="728" y="1114"/>
                  </a:lnTo>
                  <a:lnTo>
                    <a:pt x="727" y="1115"/>
                  </a:lnTo>
                  <a:lnTo>
                    <a:pt x="729" y="1102"/>
                  </a:lnTo>
                  <a:lnTo>
                    <a:pt x="729" y="1097"/>
                  </a:lnTo>
                  <a:lnTo>
                    <a:pt x="727" y="1089"/>
                  </a:lnTo>
                  <a:lnTo>
                    <a:pt x="724" y="1086"/>
                  </a:lnTo>
                  <a:lnTo>
                    <a:pt x="723" y="1083"/>
                  </a:lnTo>
                  <a:lnTo>
                    <a:pt x="723" y="1081"/>
                  </a:lnTo>
                  <a:lnTo>
                    <a:pt x="722" y="1078"/>
                  </a:lnTo>
                  <a:lnTo>
                    <a:pt x="723" y="1077"/>
                  </a:lnTo>
                  <a:lnTo>
                    <a:pt x="723" y="1068"/>
                  </a:lnTo>
                  <a:lnTo>
                    <a:pt x="726" y="1066"/>
                  </a:lnTo>
                  <a:lnTo>
                    <a:pt x="727" y="1067"/>
                  </a:lnTo>
                  <a:lnTo>
                    <a:pt x="728" y="1067"/>
                  </a:lnTo>
                  <a:lnTo>
                    <a:pt x="729" y="1062"/>
                  </a:lnTo>
                  <a:lnTo>
                    <a:pt x="728" y="1053"/>
                  </a:lnTo>
                  <a:lnTo>
                    <a:pt x="728" y="1051"/>
                  </a:lnTo>
                  <a:lnTo>
                    <a:pt x="728" y="1045"/>
                  </a:lnTo>
                  <a:lnTo>
                    <a:pt x="727" y="1042"/>
                  </a:lnTo>
                  <a:lnTo>
                    <a:pt x="728" y="1036"/>
                  </a:lnTo>
                  <a:lnTo>
                    <a:pt x="729" y="1035"/>
                  </a:lnTo>
                  <a:lnTo>
                    <a:pt x="733" y="1035"/>
                  </a:lnTo>
                  <a:lnTo>
                    <a:pt x="734" y="1033"/>
                  </a:lnTo>
                  <a:lnTo>
                    <a:pt x="733" y="1031"/>
                  </a:lnTo>
                  <a:lnTo>
                    <a:pt x="730" y="1029"/>
                  </a:lnTo>
                  <a:lnTo>
                    <a:pt x="727" y="1026"/>
                  </a:lnTo>
                  <a:lnTo>
                    <a:pt x="722" y="1021"/>
                  </a:lnTo>
                  <a:lnTo>
                    <a:pt x="721" y="1020"/>
                  </a:lnTo>
                  <a:lnTo>
                    <a:pt x="718" y="1021"/>
                  </a:lnTo>
                  <a:lnTo>
                    <a:pt x="708" y="1015"/>
                  </a:lnTo>
                  <a:lnTo>
                    <a:pt x="696" y="1013"/>
                  </a:lnTo>
                  <a:lnTo>
                    <a:pt x="686" y="1014"/>
                  </a:lnTo>
                  <a:lnTo>
                    <a:pt x="685" y="1017"/>
                  </a:lnTo>
                  <a:lnTo>
                    <a:pt x="685" y="1018"/>
                  </a:lnTo>
                  <a:lnTo>
                    <a:pt x="684" y="1020"/>
                  </a:lnTo>
                  <a:lnTo>
                    <a:pt x="684" y="1021"/>
                  </a:lnTo>
                  <a:lnTo>
                    <a:pt x="667" y="1015"/>
                  </a:lnTo>
                  <a:lnTo>
                    <a:pt x="666" y="1013"/>
                  </a:lnTo>
                  <a:lnTo>
                    <a:pt x="668" y="1014"/>
                  </a:lnTo>
                  <a:lnTo>
                    <a:pt x="669" y="1012"/>
                  </a:lnTo>
                  <a:lnTo>
                    <a:pt x="669" y="1009"/>
                  </a:lnTo>
                  <a:lnTo>
                    <a:pt x="666" y="1009"/>
                  </a:lnTo>
                  <a:lnTo>
                    <a:pt x="664" y="1006"/>
                  </a:lnTo>
                  <a:lnTo>
                    <a:pt x="664" y="1005"/>
                  </a:lnTo>
                  <a:lnTo>
                    <a:pt x="662" y="1002"/>
                  </a:lnTo>
                  <a:lnTo>
                    <a:pt x="657" y="1002"/>
                  </a:lnTo>
                  <a:lnTo>
                    <a:pt x="651" y="1003"/>
                  </a:lnTo>
                  <a:lnTo>
                    <a:pt x="651" y="1006"/>
                  </a:lnTo>
                  <a:lnTo>
                    <a:pt x="650" y="1006"/>
                  </a:lnTo>
                  <a:lnTo>
                    <a:pt x="649" y="1003"/>
                  </a:lnTo>
                  <a:lnTo>
                    <a:pt x="649" y="1005"/>
                  </a:lnTo>
                  <a:lnTo>
                    <a:pt x="649" y="1007"/>
                  </a:lnTo>
                  <a:lnTo>
                    <a:pt x="649" y="1008"/>
                  </a:lnTo>
                  <a:lnTo>
                    <a:pt x="649" y="1006"/>
                  </a:lnTo>
                  <a:lnTo>
                    <a:pt x="645" y="1006"/>
                  </a:lnTo>
                  <a:lnTo>
                    <a:pt x="644" y="1005"/>
                  </a:lnTo>
                  <a:lnTo>
                    <a:pt x="642" y="1006"/>
                  </a:lnTo>
                  <a:lnTo>
                    <a:pt x="642" y="1005"/>
                  </a:lnTo>
                  <a:lnTo>
                    <a:pt x="644" y="1003"/>
                  </a:lnTo>
                  <a:lnTo>
                    <a:pt x="643" y="1001"/>
                  </a:lnTo>
                  <a:lnTo>
                    <a:pt x="640" y="1000"/>
                  </a:lnTo>
                  <a:lnTo>
                    <a:pt x="638" y="1002"/>
                  </a:lnTo>
                  <a:lnTo>
                    <a:pt x="640" y="999"/>
                  </a:lnTo>
                  <a:lnTo>
                    <a:pt x="639" y="997"/>
                  </a:lnTo>
                  <a:lnTo>
                    <a:pt x="637" y="997"/>
                  </a:lnTo>
                  <a:lnTo>
                    <a:pt x="637" y="995"/>
                  </a:lnTo>
                  <a:lnTo>
                    <a:pt x="634" y="995"/>
                  </a:lnTo>
                  <a:lnTo>
                    <a:pt x="630" y="993"/>
                  </a:lnTo>
                  <a:lnTo>
                    <a:pt x="627" y="987"/>
                  </a:lnTo>
                  <a:lnTo>
                    <a:pt x="626" y="985"/>
                  </a:lnTo>
                  <a:lnTo>
                    <a:pt x="622" y="982"/>
                  </a:lnTo>
                  <a:lnTo>
                    <a:pt x="619" y="981"/>
                  </a:lnTo>
                  <a:lnTo>
                    <a:pt x="619" y="979"/>
                  </a:lnTo>
                  <a:lnTo>
                    <a:pt x="618" y="979"/>
                  </a:lnTo>
                  <a:lnTo>
                    <a:pt x="616" y="979"/>
                  </a:lnTo>
                  <a:lnTo>
                    <a:pt x="616" y="978"/>
                  </a:lnTo>
                  <a:lnTo>
                    <a:pt x="613" y="973"/>
                  </a:lnTo>
                  <a:lnTo>
                    <a:pt x="613" y="972"/>
                  </a:lnTo>
                  <a:lnTo>
                    <a:pt x="612" y="971"/>
                  </a:lnTo>
                  <a:lnTo>
                    <a:pt x="612" y="967"/>
                  </a:lnTo>
                  <a:lnTo>
                    <a:pt x="610" y="967"/>
                  </a:lnTo>
                  <a:lnTo>
                    <a:pt x="610" y="965"/>
                  </a:lnTo>
                  <a:lnTo>
                    <a:pt x="610" y="964"/>
                  </a:lnTo>
                  <a:lnTo>
                    <a:pt x="609" y="964"/>
                  </a:lnTo>
                  <a:lnTo>
                    <a:pt x="609" y="963"/>
                  </a:lnTo>
                  <a:lnTo>
                    <a:pt x="607" y="961"/>
                  </a:lnTo>
                  <a:lnTo>
                    <a:pt x="607" y="959"/>
                  </a:lnTo>
                  <a:lnTo>
                    <a:pt x="604" y="958"/>
                  </a:lnTo>
                  <a:lnTo>
                    <a:pt x="604" y="957"/>
                  </a:lnTo>
                  <a:lnTo>
                    <a:pt x="604" y="951"/>
                  </a:lnTo>
                  <a:lnTo>
                    <a:pt x="601" y="946"/>
                  </a:lnTo>
                  <a:lnTo>
                    <a:pt x="597" y="945"/>
                  </a:lnTo>
                  <a:lnTo>
                    <a:pt x="596" y="942"/>
                  </a:lnTo>
                  <a:lnTo>
                    <a:pt x="596" y="939"/>
                  </a:lnTo>
                  <a:lnTo>
                    <a:pt x="595" y="937"/>
                  </a:lnTo>
                  <a:lnTo>
                    <a:pt x="592" y="933"/>
                  </a:lnTo>
                  <a:lnTo>
                    <a:pt x="591" y="931"/>
                  </a:lnTo>
                  <a:lnTo>
                    <a:pt x="589" y="929"/>
                  </a:lnTo>
                  <a:lnTo>
                    <a:pt x="588" y="928"/>
                  </a:lnTo>
                  <a:lnTo>
                    <a:pt x="585" y="925"/>
                  </a:lnTo>
                  <a:lnTo>
                    <a:pt x="584" y="923"/>
                  </a:lnTo>
                  <a:lnTo>
                    <a:pt x="583" y="918"/>
                  </a:lnTo>
                  <a:lnTo>
                    <a:pt x="584" y="915"/>
                  </a:lnTo>
                  <a:lnTo>
                    <a:pt x="583" y="912"/>
                  </a:lnTo>
                  <a:lnTo>
                    <a:pt x="578" y="907"/>
                  </a:lnTo>
                  <a:lnTo>
                    <a:pt x="572" y="905"/>
                  </a:lnTo>
                  <a:lnTo>
                    <a:pt x="565" y="903"/>
                  </a:lnTo>
                  <a:lnTo>
                    <a:pt x="550" y="894"/>
                  </a:lnTo>
                  <a:lnTo>
                    <a:pt x="542" y="892"/>
                  </a:lnTo>
                  <a:lnTo>
                    <a:pt x="540" y="891"/>
                  </a:lnTo>
                  <a:lnTo>
                    <a:pt x="540" y="887"/>
                  </a:lnTo>
                  <a:lnTo>
                    <a:pt x="541" y="886"/>
                  </a:lnTo>
                  <a:lnTo>
                    <a:pt x="538" y="880"/>
                  </a:lnTo>
                  <a:lnTo>
                    <a:pt x="536" y="876"/>
                  </a:lnTo>
                  <a:lnTo>
                    <a:pt x="534" y="868"/>
                  </a:lnTo>
                  <a:lnTo>
                    <a:pt x="532" y="865"/>
                  </a:lnTo>
                  <a:lnTo>
                    <a:pt x="532" y="862"/>
                  </a:lnTo>
                  <a:lnTo>
                    <a:pt x="529" y="856"/>
                  </a:lnTo>
                  <a:lnTo>
                    <a:pt x="519" y="849"/>
                  </a:lnTo>
                  <a:lnTo>
                    <a:pt x="513" y="841"/>
                  </a:lnTo>
                  <a:lnTo>
                    <a:pt x="512" y="839"/>
                  </a:lnTo>
                  <a:lnTo>
                    <a:pt x="508" y="837"/>
                  </a:lnTo>
                  <a:lnTo>
                    <a:pt x="508" y="835"/>
                  </a:lnTo>
                  <a:lnTo>
                    <a:pt x="506" y="833"/>
                  </a:lnTo>
                  <a:lnTo>
                    <a:pt x="505" y="828"/>
                  </a:lnTo>
                  <a:lnTo>
                    <a:pt x="501" y="825"/>
                  </a:lnTo>
                  <a:lnTo>
                    <a:pt x="502" y="825"/>
                  </a:lnTo>
                  <a:lnTo>
                    <a:pt x="501" y="809"/>
                  </a:lnTo>
                  <a:lnTo>
                    <a:pt x="489" y="803"/>
                  </a:lnTo>
                  <a:lnTo>
                    <a:pt x="486" y="798"/>
                  </a:lnTo>
                  <a:lnTo>
                    <a:pt x="486" y="797"/>
                  </a:lnTo>
                  <a:lnTo>
                    <a:pt x="481" y="789"/>
                  </a:lnTo>
                  <a:lnTo>
                    <a:pt x="478" y="784"/>
                  </a:lnTo>
                  <a:lnTo>
                    <a:pt x="476" y="781"/>
                  </a:lnTo>
                  <a:lnTo>
                    <a:pt x="466" y="780"/>
                  </a:lnTo>
                  <a:lnTo>
                    <a:pt x="466" y="778"/>
                  </a:lnTo>
                  <a:lnTo>
                    <a:pt x="469" y="777"/>
                  </a:lnTo>
                  <a:lnTo>
                    <a:pt x="470" y="774"/>
                  </a:lnTo>
                  <a:lnTo>
                    <a:pt x="466" y="767"/>
                  </a:lnTo>
                  <a:lnTo>
                    <a:pt x="468" y="757"/>
                  </a:lnTo>
                  <a:lnTo>
                    <a:pt x="464" y="757"/>
                  </a:lnTo>
                  <a:lnTo>
                    <a:pt x="468" y="753"/>
                  </a:lnTo>
                  <a:lnTo>
                    <a:pt x="469" y="749"/>
                  </a:lnTo>
                  <a:lnTo>
                    <a:pt x="466" y="741"/>
                  </a:lnTo>
                  <a:lnTo>
                    <a:pt x="464" y="739"/>
                  </a:lnTo>
                  <a:lnTo>
                    <a:pt x="465" y="738"/>
                  </a:lnTo>
                  <a:lnTo>
                    <a:pt x="463" y="736"/>
                  </a:lnTo>
                  <a:lnTo>
                    <a:pt x="459" y="736"/>
                  </a:lnTo>
                  <a:lnTo>
                    <a:pt x="464" y="723"/>
                  </a:lnTo>
                  <a:lnTo>
                    <a:pt x="462" y="714"/>
                  </a:lnTo>
                  <a:lnTo>
                    <a:pt x="460" y="709"/>
                  </a:lnTo>
                  <a:lnTo>
                    <a:pt x="456" y="705"/>
                  </a:lnTo>
                  <a:lnTo>
                    <a:pt x="450" y="703"/>
                  </a:lnTo>
                  <a:lnTo>
                    <a:pt x="444" y="705"/>
                  </a:lnTo>
                  <a:lnTo>
                    <a:pt x="441" y="711"/>
                  </a:lnTo>
                  <a:lnTo>
                    <a:pt x="438" y="705"/>
                  </a:lnTo>
                  <a:lnTo>
                    <a:pt x="430" y="701"/>
                  </a:lnTo>
                  <a:lnTo>
                    <a:pt x="429" y="699"/>
                  </a:lnTo>
                  <a:lnTo>
                    <a:pt x="428" y="691"/>
                  </a:lnTo>
                  <a:lnTo>
                    <a:pt x="436" y="676"/>
                  </a:lnTo>
                  <a:lnTo>
                    <a:pt x="436" y="669"/>
                  </a:lnTo>
                  <a:lnTo>
                    <a:pt x="434" y="666"/>
                  </a:lnTo>
                  <a:lnTo>
                    <a:pt x="434" y="667"/>
                  </a:lnTo>
                  <a:lnTo>
                    <a:pt x="428" y="663"/>
                  </a:lnTo>
                  <a:lnTo>
                    <a:pt x="428" y="655"/>
                  </a:lnTo>
                  <a:lnTo>
                    <a:pt x="424" y="649"/>
                  </a:lnTo>
                  <a:lnTo>
                    <a:pt x="421" y="647"/>
                  </a:lnTo>
                  <a:lnTo>
                    <a:pt x="417" y="642"/>
                  </a:lnTo>
                  <a:lnTo>
                    <a:pt x="416" y="641"/>
                  </a:lnTo>
                  <a:lnTo>
                    <a:pt x="411" y="627"/>
                  </a:lnTo>
                  <a:lnTo>
                    <a:pt x="409" y="624"/>
                  </a:lnTo>
                  <a:lnTo>
                    <a:pt x="405" y="623"/>
                  </a:lnTo>
                  <a:lnTo>
                    <a:pt x="399" y="605"/>
                  </a:lnTo>
                  <a:lnTo>
                    <a:pt x="393" y="594"/>
                  </a:lnTo>
                  <a:lnTo>
                    <a:pt x="393" y="583"/>
                  </a:lnTo>
                  <a:lnTo>
                    <a:pt x="390" y="580"/>
                  </a:lnTo>
                  <a:lnTo>
                    <a:pt x="388" y="580"/>
                  </a:lnTo>
                  <a:lnTo>
                    <a:pt x="386" y="577"/>
                  </a:lnTo>
                  <a:lnTo>
                    <a:pt x="381" y="579"/>
                  </a:lnTo>
                  <a:lnTo>
                    <a:pt x="379" y="577"/>
                  </a:lnTo>
                  <a:lnTo>
                    <a:pt x="381" y="551"/>
                  </a:lnTo>
                  <a:lnTo>
                    <a:pt x="378" y="545"/>
                  </a:lnTo>
                  <a:lnTo>
                    <a:pt x="381" y="525"/>
                  </a:lnTo>
                  <a:lnTo>
                    <a:pt x="379" y="511"/>
                  </a:lnTo>
                  <a:lnTo>
                    <a:pt x="373" y="505"/>
                  </a:lnTo>
                  <a:lnTo>
                    <a:pt x="368" y="502"/>
                  </a:lnTo>
                  <a:lnTo>
                    <a:pt x="366" y="502"/>
                  </a:lnTo>
                  <a:lnTo>
                    <a:pt x="364" y="503"/>
                  </a:lnTo>
                  <a:lnTo>
                    <a:pt x="363" y="502"/>
                  </a:lnTo>
                  <a:lnTo>
                    <a:pt x="368" y="491"/>
                  </a:lnTo>
                  <a:lnTo>
                    <a:pt x="367" y="478"/>
                  </a:lnTo>
                  <a:lnTo>
                    <a:pt x="361" y="463"/>
                  </a:lnTo>
                  <a:lnTo>
                    <a:pt x="348" y="445"/>
                  </a:lnTo>
                  <a:lnTo>
                    <a:pt x="346" y="447"/>
                  </a:lnTo>
                  <a:lnTo>
                    <a:pt x="332" y="419"/>
                  </a:lnTo>
                  <a:lnTo>
                    <a:pt x="330" y="409"/>
                  </a:lnTo>
                  <a:lnTo>
                    <a:pt x="330" y="396"/>
                  </a:lnTo>
                  <a:lnTo>
                    <a:pt x="326" y="387"/>
                  </a:lnTo>
                  <a:lnTo>
                    <a:pt x="328" y="383"/>
                  </a:lnTo>
                  <a:lnTo>
                    <a:pt x="332" y="373"/>
                  </a:lnTo>
                  <a:lnTo>
                    <a:pt x="334" y="357"/>
                  </a:lnTo>
                  <a:lnTo>
                    <a:pt x="334" y="355"/>
                  </a:lnTo>
                  <a:lnTo>
                    <a:pt x="334" y="348"/>
                  </a:lnTo>
                  <a:lnTo>
                    <a:pt x="331" y="337"/>
                  </a:lnTo>
                  <a:lnTo>
                    <a:pt x="332" y="335"/>
                  </a:lnTo>
                  <a:lnTo>
                    <a:pt x="333" y="337"/>
                  </a:lnTo>
                  <a:lnTo>
                    <a:pt x="344" y="334"/>
                  </a:lnTo>
                  <a:lnTo>
                    <a:pt x="345" y="334"/>
                  </a:lnTo>
                  <a:lnTo>
                    <a:pt x="346" y="328"/>
                  </a:lnTo>
                  <a:lnTo>
                    <a:pt x="345" y="325"/>
                  </a:lnTo>
                  <a:lnTo>
                    <a:pt x="348" y="321"/>
                  </a:lnTo>
                  <a:lnTo>
                    <a:pt x="348" y="318"/>
                  </a:lnTo>
                  <a:lnTo>
                    <a:pt x="345" y="315"/>
                  </a:lnTo>
                  <a:lnTo>
                    <a:pt x="343" y="315"/>
                  </a:lnTo>
                  <a:lnTo>
                    <a:pt x="343" y="312"/>
                  </a:lnTo>
                  <a:lnTo>
                    <a:pt x="342" y="311"/>
                  </a:lnTo>
                  <a:lnTo>
                    <a:pt x="336" y="310"/>
                  </a:lnTo>
                  <a:lnTo>
                    <a:pt x="334" y="310"/>
                  </a:lnTo>
                  <a:lnTo>
                    <a:pt x="321" y="301"/>
                  </a:lnTo>
                  <a:lnTo>
                    <a:pt x="320" y="299"/>
                  </a:lnTo>
                  <a:lnTo>
                    <a:pt x="320" y="298"/>
                  </a:lnTo>
                  <a:lnTo>
                    <a:pt x="315" y="298"/>
                  </a:lnTo>
                  <a:lnTo>
                    <a:pt x="307" y="295"/>
                  </a:lnTo>
                  <a:lnTo>
                    <a:pt x="290" y="289"/>
                  </a:lnTo>
                  <a:lnTo>
                    <a:pt x="282" y="287"/>
                  </a:lnTo>
                  <a:lnTo>
                    <a:pt x="279" y="286"/>
                  </a:lnTo>
                  <a:lnTo>
                    <a:pt x="279" y="287"/>
                  </a:lnTo>
                  <a:lnTo>
                    <a:pt x="261" y="281"/>
                  </a:lnTo>
                  <a:lnTo>
                    <a:pt x="260" y="280"/>
                  </a:lnTo>
                  <a:lnTo>
                    <a:pt x="256" y="275"/>
                  </a:lnTo>
                  <a:lnTo>
                    <a:pt x="248" y="274"/>
                  </a:lnTo>
                  <a:lnTo>
                    <a:pt x="246" y="270"/>
                  </a:lnTo>
                  <a:lnTo>
                    <a:pt x="250" y="262"/>
                  </a:lnTo>
                  <a:lnTo>
                    <a:pt x="250" y="261"/>
                  </a:lnTo>
                  <a:lnTo>
                    <a:pt x="248" y="253"/>
                  </a:lnTo>
                  <a:lnTo>
                    <a:pt x="249" y="249"/>
                  </a:lnTo>
                  <a:lnTo>
                    <a:pt x="247" y="241"/>
                  </a:lnTo>
                  <a:lnTo>
                    <a:pt x="242" y="235"/>
                  </a:lnTo>
                  <a:lnTo>
                    <a:pt x="240" y="234"/>
                  </a:lnTo>
                  <a:lnTo>
                    <a:pt x="226" y="227"/>
                  </a:lnTo>
                  <a:lnTo>
                    <a:pt x="225" y="225"/>
                  </a:lnTo>
                  <a:lnTo>
                    <a:pt x="222" y="223"/>
                  </a:lnTo>
                  <a:lnTo>
                    <a:pt x="219" y="223"/>
                  </a:lnTo>
                  <a:lnTo>
                    <a:pt x="216" y="220"/>
                  </a:lnTo>
                  <a:lnTo>
                    <a:pt x="211" y="217"/>
                  </a:lnTo>
                  <a:lnTo>
                    <a:pt x="210" y="219"/>
                  </a:lnTo>
                  <a:lnTo>
                    <a:pt x="207" y="217"/>
                  </a:lnTo>
                  <a:lnTo>
                    <a:pt x="206" y="216"/>
                  </a:lnTo>
                  <a:lnTo>
                    <a:pt x="204" y="214"/>
                  </a:lnTo>
                  <a:lnTo>
                    <a:pt x="201" y="214"/>
                  </a:lnTo>
                  <a:lnTo>
                    <a:pt x="199" y="214"/>
                  </a:lnTo>
                  <a:lnTo>
                    <a:pt x="193" y="216"/>
                  </a:lnTo>
                  <a:lnTo>
                    <a:pt x="192" y="216"/>
                  </a:lnTo>
                  <a:lnTo>
                    <a:pt x="189" y="217"/>
                  </a:lnTo>
                  <a:lnTo>
                    <a:pt x="187" y="219"/>
                  </a:lnTo>
                  <a:lnTo>
                    <a:pt x="182" y="216"/>
                  </a:lnTo>
                  <a:lnTo>
                    <a:pt x="169" y="222"/>
                  </a:lnTo>
                  <a:lnTo>
                    <a:pt x="169" y="228"/>
                  </a:lnTo>
                  <a:lnTo>
                    <a:pt x="163" y="233"/>
                  </a:lnTo>
                  <a:lnTo>
                    <a:pt x="154" y="231"/>
                  </a:lnTo>
                  <a:lnTo>
                    <a:pt x="148" y="226"/>
                  </a:lnTo>
                  <a:lnTo>
                    <a:pt x="142" y="222"/>
                  </a:lnTo>
                  <a:lnTo>
                    <a:pt x="136" y="219"/>
                  </a:lnTo>
                  <a:lnTo>
                    <a:pt x="133" y="215"/>
                  </a:lnTo>
                  <a:lnTo>
                    <a:pt x="129" y="211"/>
                  </a:lnTo>
                  <a:lnTo>
                    <a:pt x="129" y="209"/>
                  </a:lnTo>
                  <a:lnTo>
                    <a:pt x="123" y="204"/>
                  </a:lnTo>
                  <a:lnTo>
                    <a:pt x="111" y="196"/>
                  </a:lnTo>
                  <a:lnTo>
                    <a:pt x="109" y="196"/>
                  </a:lnTo>
                  <a:lnTo>
                    <a:pt x="109" y="195"/>
                  </a:lnTo>
                  <a:lnTo>
                    <a:pt x="108" y="191"/>
                  </a:lnTo>
                  <a:lnTo>
                    <a:pt x="102" y="189"/>
                  </a:lnTo>
                  <a:lnTo>
                    <a:pt x="99" y="187"/>
                  </a:lnTo>
                  <a:lnTo>
                    <a:pt x="99" y="185"/>
                  </a:lnTo>
                  <a:lnTo>
                    <a:pt x="97" y="184"/>
                  </a:lnTo>
                  <a:lnTo>
                    <a:pt x="93" y="179"/>
                  </a:lnTo>
                  <a:lnTo>
                    <a:pt x="93" y="177"/>
                  </a:lnTo>
                  <a:lnTo>
                    <a:pt x="88" y="173"/>
                  </a:lnTo>
                  <a:lnTo>
                    <a:pt x="85" y="169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68" y="167"/>
                  </a:lnTo>
                  <a:lnTo>
                    <a:pt x="62" y="161"/>
                  </a:lnTo>
                  <a:lnTo>
                    <a:pt x="58" y="155"/>
                  </a:lnTo>
                  <a:lnTo>
                    <a:pt x="55" y="154"/>
                  </a:lnTo>
                  <a:lnTo>
                    <a:pt x="52" y="155"/>
                  </a:lnTo>
                  <a:lnTo>
                    <a:pt x="49" y="154"/>
                  </a:lnTo>
                  <a:lnTo>
                    <a:pt x="46" y="159"/>
                  </a:lnTo>
                  <a:lnTo>
                    <a:pt x="46" y="162"/>
                  </a:lnTo>
                  <a:lnTo>
                    <a:pt x="45" y="165"/>
                  </a:lnTo>
                  <a:lnTo>
                    <a:pt x="36" y="161"/>
                  </a:lnTo>
                  <a:lnTo>
                    <a:pt x="32" y="155"/>
                  </a:lnTo>
                  <a:lnTo>
                    <a:pt x="15" y="135"/>
                  </a:lnTo>
                  <a:lnTo>
                    <a:pt x="8" y="132"/>
                  </a:lnTo>
                  <a:lnTo>
                    <a:pt x="0" y="118"/>
                  </a:lnTo>
                  <a:lnTo>
                    <a:pt x="7" y="118"/>
                  </a:lnTo>
                  <a:lnTo>
                    <a:pt x="9" y="111"/>
                  </a:lnTo>
                  <a:lnTo>
                    <a:pt x="8" y="73"/>
                  </a:lnTo>
                  <a:lnTo>
                    <a:pt x="14" y="70"/>
                  </a:lnTo>
                  <a:lnTo>
                    <a:pt x="19" y="73"/>
                  </a:lnTo>
                  <a:lnTo>
                    <a:pt x="21" y="49"/>
                  </a:lnTo>
                  <a:lnTo>
                    <a:pt x="39" y="24"/>
                  </a:lnTo>
                  <a:lnTo>
                    <a:pt x="63" y="0"/>
                  </a:lnTo>
                  <a:lnTo>
                    <a:pt x="86" y="28"/>
                  </a:lnTo>
                  <a:lnTo>
                    <a:pt x="312" y="133"/>
                  </a:lnTo>
                  <a:lnTo>
                    <a:pt x="624" y="276"/>
                  </a:lnTo>
                  <a:lnTo>
                    <a:pt x="625" y="276"/>
                  </a:lnTo>
                  <a:lnTo>
                    <a:pt x="648" y="287"/>
                  </a:lnTo>
                  <a:lnTo>
                    <a:pt x="652" y="289"/>
                  </a:lnTo>
                  <a:lnTo>
                    <a:pt x="697" y="310"/>
                  </a:lnTo>
                  <a:lnTo>
                    <a:pt x="806" y="317"/>
                  </a:lnTo>
                  <a:lnTo>
                    <a:pt x="1056" y="334"/>
                  </a:lnTo>
                  <a:lnTo>
                    <a:pt x="1087" y="335"/>
                  </a:lnTo>
                  <a:close/>
                </a:path>
              </a:pathLst>
            </a:custGeom>
            <a:grpFill/>
            <a:ln w="1588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on </a:t>
            </a:r>
            <a:r>
              <a:rPr lang="en-US" dirty="0" err="1" smtClean="0"/>
              <a:t>Reforma</a:t>
            </a:r>
            <a:r>
              <a:rPr lang="en-US" dirty="0" smtClean="0"/>
              <a:t> </a:t>
            </a:r>
            <a:r>
              <a:rPr lang="en-US" dirty="0" err="1" smtClean="0"/>
              <a:t>Energética</a:t>
            </a:r>
            <a:r>
              <a:rPr lang="en-US" dirty="0" smtClean="0"/>
              <a:t> ALFA se </a:t>
            </a:r>
            <a:r>
              <a:rPr lang="en-US" dirty="0" err="1" smtClean="0"/>
              <a:t>enfocará</a:t>
            </a:r>
            <a:r>
              <a:rPr lang="en-US" dirty="0" smtClean="0"/>
              <a:t> en </a:t>
            </a:r>
            <a:r>
              <a:rPr lang="en-US" dirty="0" err="1" smtClean="0"/>
              <a:t>maximizar</a:t>
            </a:r>
            <a:r>
              <a:rPr lang="en-US" dirty="0" smtClean="0"/>
              <a:t> </a:t>
            </a:r>
            <a:r>
              <a:rPr lang="en-US" dirty="0" err="1" smtClean="0"/>
              <a:t>oportunidades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cadenas</a:t>
            </a:r>
            <a:r>
              <a:rPr lang="en-US" dirty="0" smtClean="0"/>
              <a:t> de valor</a:t>
            </a:r>
            <a:endParaRPr lang="en-US" sz="3200" dirty="0"/>
          </a:p>
        </p:txBody>
      </p:sp>
      <p:sp>
        <p:nvSpPr>
          <p:cNvPr id="36" name="Rectangle 35"/>
          <p:cNvSpPr/>
          <p:nvPr/>
        </p:nvSpPr>
        <p:spPr>
          <a:xfrm>
            <a:off x="-1" y="2576222"/>
            <a:ext cx="3960000" cy="4281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41" name="Oval 1940"/>
          <p:cNvSpPr/>
          <p:nvPr/>
        </p:nvSpPr>
        <p:spPr>
          <a:xfrm>
            <a:off x="169961" y="2841776"/>
            <a:ext cx="432207" cy="432207"/>
          </a:xfrm>
          <a:prstGeom prst="ellipse">
            <a:avLst/>
          </a:prstGeom>
          <a:noFill/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1.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51" name="Freeform 1950"/>
          <p:cNvSpPr/>
          <p:nvPr/>
        </p:nvSpPr>
        <p:spPr>
          <a:xfrm>
            <a:off x="6250207" y="1472117"/>
            <a:ext cx="334314" cy="431076"/>
          </a:xfrm>
          <a:custGeom>
            <a:avLst/>
            <a:gdLst>
              <a:gd name="connsiteX0" fmla="*/ 150861 w 334314"/>
              <a:gd name="connsiteY0" fmla="*/ 88106 h 431076"/>
              <a:gd name="connsiteX1" fmla="*/ 150861 w 334314"/>
              <a:gd name="connsiteY1" fmla="*/ 88106 h 431076"/>
              <a:gd name="connsiteX2" fmla="*/ 134192 w 334314"/>
              <a:gd name="connsiteY2" fmla="*/ 76200 h 431076"/>
              <a:gd name="connsiteX3" fmla="*/ 124667 w 334314"/>
              <a:gd name="connsiteY3" fmla="*/ 71438 h 431076"/>
              <a:gd name="connsiteX4" fmla="*/ 119904 w 334314"/>
              <a:gd name="connsiteY4" fmla="*/ 64294 h 431076"/>
              <a:gd name="connsiteX5" fmla="*/ 115142 w 334314"/>
              <a:gd name="connsiteY5" fmla="*/ 42863 h 431076"/>
              <a:gd name="connsiteX6" fmla="*/ 107998 w 334314"/>
              <a:gd name="connsiteY6" fmla="*/ 38100 h 431076"/>
              <a:gd name="connsiteX7" fmla="*/ 93711 w 334314"/>
              <a:gd name="connsiteY7" fmla="*/ 33338 h 431076"/>
              <a:gd name="connsiteX8" fmla="*/ 72279 w 334314"/>
              <a:gd name="connsiteY8" fmla="*/ 16669 h 431076"/>
              <a:gd name="connsiteX9" fmla="*/ 53229 w 334314"/>
              <a:gd name="connsiteY9" fmla="*/ 4763 h 431076"/>
              <a:gd name="connsiteX10" fmla="*/ 46086 w 334314"/>
              <a:gd name="connsiteY10" fmla="*/ 2381 h 431076"/>
              <a:gd name="connsiteX11" fmla="*/ 38942 w 334314"/>
              <a:gd name="connsiteY11" fmla="*/ 0 h 431076"/>
              <a:gd name="connsiteX12" fmla="*/ 31798 w 334314"/>
              <a:gd name="connsiteY12" fmla="*/ 2381 h 431076"/>
              <a:gd name="connsiteX13" fmla="*/ 22273 w 334314"/>
              <a:gd name="connsiteY13" fmla="*/ 4763 h 431076"/>
              <a:gd name="connsiteX14" fmla="*/ 17511 w 334314"/>
              <a:gd name="connsiteY14" fmla="*/ 11906 h 431076"/>
              <a:gd name="connsiteX15" fmla="*/ 3223 w 334314"/>
              <a:gd name="connsiteY15" fmla="*/ 16669 h 431076"/>
              <a:gd name="connsiteX16" fmla="*/ 3223 w 334314"/>
              <a:gd name="connsiteY16" fmla="*/ 64294 h 431076"/>
              <a:gd name="connsiteX17" fmla="*/ 7986 w 334314"/>
              <a:gd name="connsiteY17" fmla="*/ 95250 h 431076"/>
              <a:gd name="connsiteX18" fmla="*/ 12748 w 334314"/>
              <a:gd name="connsiteY18" fmla="*/ 102394 h 431076"/>
              <a:gd name="connsiteX19" fmla="*/ 12748 w 334314"/>
              <a:gd name="connsiteY19" fmla="*/ 161925 h 431076"/>
              <a:gd name="connsiteX20" fmla="*/ 15129 w 334314"/>
              <a:gd name="connsiteY20" fmla="*/ 197644 h 431076"/>
              <a:gd name="connsiteX21" fmla="*/ 19892 w 334314"/>
              <a:gd name="connsiteY21" fmla="*/ 207169 h 431076"/>
              <a:gd name="connsiteX22" fmla="*/ 22273 w 334314"/>
              <a:gd name="connsiteY22" fmla="*/ 214313 h 431076"/>
              <a:gd name="connsiteX23" fmla="*/ 36561 w 334314"/>
              <a:gd name="connsiteY23" fmla="*/ 228600 h 431076"/>
              <a:gd name="connsiteX24" fmla="*/ 46086 w 334314"/>
              <a:gd name="connsiteY24" fmla="*/ 250031 h 431076"/>
              <a:gd name="connsiteX25" fmla="*/ 48467 w 334314"/>
              <a:gd name="connsiteY25" fmla="*/ 257175 h 431076"/>
              <a:gd name="connsiteX26" fmla="*/ 67517 w 334314"/>
              <a:gd name="connsiteY26" fmla="*/ 271463 h 431076"/>
              <a:gd name="connsiteX27" fmla="*/ 79423 w 334314"/>
              <a:gd name="connsiteY27" fmla="*/ 283369 h 431076"/>
              <a:gd name="connsiteX28" fmla="*/ 86567 w 334314"/>
              <a:gd name="connsiteY28" fmla="*/ 302419 h 431076"/>
              <a:gd name="connsiteX29" fmla="*/ 93711 w 334314"/>
              <a:gd name="connsiteY29" fmla="*/ 304800 h 431076"/>
              <a:gd name="connsiteX30" fmla="*/ 110379 w 334314"/>
              <a:gd name="connsiteY30" fmla="*/ 314325 h 431076"/>
              <a:gd name="connsiteX31" fmla="*/ 117523 w 334314"/>
              <a:gd name="connsiteY31" fmla="*/ 319088 h 431076"/>
              <a:gd name="connsiteX32" fmla="*/ 124667 w 334314"/>
              <a:gd name="connsiteY32" fmla="*/ 321469 h 431076"/>
              <a:gd name="connsiteX33" fmla="*/ 131811 w 334314"/>
              <a:gd name="connsiteY33" fmla="*/ 319088 h 431076"/>
              <a:gd name="connsiteX34" fmla="*/ 136573 w 334314"/>
              <a:gd name="connsiteY34" fmla="*/ 311944 h 431076"/>
              <a:gd name="connsiteX35" fmla="*/ 153242 w 334314"/>
              <a:gd name="connsiteY35" fmla="*/ 314325 h 431076"/>
              <a:gd name="connsiteX36" fmla="*/ 160386 w 334314"/>
              <a:gd name="connsiteY36" fmla="*/ 316706 h 431076"/>
              <a:gd name="connsiteX37" fmla="*/ 162767 w 334314"/>
              <a:gd name="connsiteY37" fmla="*/ 326231 h 431076"/>
              <a:gd name="connsiteX38" fmla="*/ 167529 w 334314"/>
              <a:gd name="connsiteY38" fmla="*/ 354806 h 431076"/>
              <a:gd name="connsiteX39" fmla="*/ 169911 w 334314"/>
              <a:gd name="connsiteY39" fmla="*/ 381000 h 431076"/>
              <a:gd name="connsiteX40" fmla="*/ 181817 w 334314"/>
              <a:gd name="connsiteY40" fmla="*/ 392906 h 431076"/>
              <a:gd name="connsiteX41" fmla="*/ 191342 w 334314"/>
              <a:gd name="connsiteY41" fmla="*/ 400050 h 431076"/>
              <a:gd name="connsiteX42" fmla="*/ 200867 w 334314"/>
              <a:gd name="connsiteY42" fmla="*/ 421481 h 431076"/>
              <a:gd name="connsiteX43" fmla="*/ 208011 w 334314"/>
              <a:gd name="connsiteY43" fmla="*/ 423863 h 431076"/>
              <a:gd name="connsiteX44" fmla="*/ 217536 w 334314"/>
              <a:gd name="connsiteY44" fmla="*/ 423863 h 431076"/>
              <a:gd name="connsiteX45" fmla="*/ 224679 w 334314"/>
              <a:gd name="connsiteY45" fmla="*/ 419100 h 431076"/>
              <a:gd name="connsiteX46" fmla="*/ 227061 w 334314"/>
              <a:gd name="connsiteY46" fmla="*/ 397669 h 431076"/>
              <a:gd name="connsiteX47" fmla="*/ 248492 w 334314"/>
              <a:gd name="connsiteY47" fmla="*/ 383381 h 431076"/>
              <a:gd name="connsiteX48" fmla="*/ 291354 w 334314"/>
              <a:gd name="connsiteY48" fmla="*/ 388144 h 431076"/>
              <a:gd name="connsiteX49" fmla="*/ 298498 w 334314"/>
              <a:gd name="connsiteY49" fmla="*/ 390525 h 431076"/>
              <a:gd name="connsiteX50" fmla="*/ 305642 w 334314"/>
              <a:gd name="connsiteY50" fmla="*/ 404813 h 431076"/>
              <a:gd name="connsiteX51" fmla="*/ 315167 w 334314"/>
              <a:gd name="connsiteY51" fmla="*/ 407194 h 431076"/>
              <a:gd name="connsiteX52" fmla="*/ 334217 w 334314"/>
              <a:gd name="connsiteY52" fmla="*/ 395288 h 431076"/>
              <a:gd name="connsiteX53" fmla="*/ 327073 w 334314"/>
              <a:gd name="connsiteY53" fmla="*/ 390525 h 431076"/>
              <a:gd name="connsiteX54" fmla="*/ 324692 w 334314"/>
              <a:gd name="connsiteY54" fmla="*/ 381000 h 431076"/>
              <a:gd name="connsiteX55" fmla="*/ 319929 w 334314"/>
              <a:gd name="connsiteY55" fmla="*/ 369094 h 431076"/>
              <a:gd name="connsiteX56" fmla="*/ 322311 w 334314"/>
              <a:gd name="connsiteY56" fmla="*/ 354806 h 431076"/>
              <a:gd name="connsiteX57" fmla="*/ 324692 w 334314"/>
              <a:gd name="connsiteY57" fmla="*/ 333375 h 431076"/>
              <a:gd name="connsiteX58" fmla="*/ 319929 w 334314"/>
              <a:gd name="connsiteY58" fmla="*/ 257175 h 431076"/>
              <a:gd name="connsiteX59" fmla="*/ 315167 w 334314"/>
              <a:gd name="connsiteY59" fmla="*/ 250031 h 431076"/>
              <a:gd name="connsiteX60" fmla="*/ 300879 w 334314"/>
              <a:gd name="connsiteY60" fmla="*/ 245269 h 431076"/>
              <a:gd name="connsiteX61" fmla="*/ 298498 w 334314"/>
              <a:gd name="connsiteY61" fmla="*/ 269081 h 431076"/>
              <a:gd name="connsiteX62" fmla="*/ 296117 w 334314"/>
              <a:gd name="connsiteY62" fmla="*/ 276225 h 431076"/>
              <a:gd name="connsiteX63" fmla="*/ 286592 w 334314"/>
              <a:gd name="connsiteY63" fmla="*/ 278606 h 431076"/>
              <a:gd name="connsiteX64" fmla="*/ 281829 w 334314"/>
              <a:gd name="connsiteY64" fmla="*/ 285750 h 431076"/>
              <a:gd name="connsiteX65" fmla="*/ 267542 w 334314"/>
              <a:gd name="connsiteY65" fmla="*/ 290513 h 431076"/>
              <a:gd name="connsiteX66" fmla="*/ 260398 w 334314"/>
              <a:gd name="connsiteY66" fmla="*/ 295275 h 431076"/>
              <a:gd name="connsiteX67" fmla="*/ 253254 w 334314"/>
              <a:gd name="connsiteY67" fmla="*/ 297656 h 431076"/>
              <a:gd name="connsiteX68" fmla="*/ 219917 w 334314"/>
              <a:gd name="connsiteY68" fmla="*/ 295275 h 431076"/>
              <a:gd name="connsiteX69" fmla="*/ 217536 w 334314"/>
              <a:gd name="connsiteY69" fmla="*/ 288131 h 431076"/>
              <a:gd name="connsiteX70" fmla="*/ 203248 w 334314"/>
              <a:gd name="connsiteY70" fmla="*/ 273844 h 431076"/>
              <a:gd name="connsiteX71" fmla="*/ 191342 w 334314"/>
              <a:gd name="connsiteY71" fmla="*/ 259556 h 431076"/>
              <a:gd name="connsiteX72" fmla="*/ 184198 w 334314"/>
              <a:gd name="connsiteY72" fmla="*/ 250031 h 431076"/>
              <a:gd name="connsiteX73" fmla="*/ 179436 w 334314"/>
              <a:gd name="connsiteY73" fmla="*/ 233363 h 431076"/>
              <a:gd name="connsiteX74" fmla="*/ 177054 w 334314"/>
              <a:gd name="connsiteY74" fmla="*/ 226219 h 431076"/>
              <a:gd name="connsiteX75" fmla="*/ 174673 w 334314"/>
              <a:gd name="connsiteY75" fmla="*/ 216694 h 431076"/>
              <a:gd name="connsiteX76" fmla="*/ 169911 w 334314"/>
              <a:gd name="connsiteY76" fmla="*/ 209550 h 431076"/>
              <a:gd name="connsiteX77" fmla="*/ 167529 w 334314"/>
              <a:gd name="connsiteY77" fmla="*/ 197644 h 431076"/>
              <a:gd name="connsiteX78" fmla="*/ 162767 w 334314"/>
              <a:gd name="connsiteY78" fmla="*/ 159544 h 431076"/>
              <a:gd name="connsiteX79" fmla="*/ 160386 w 334314"/>
              <a:gd name="connsiteY79" fmla="*/ 138113 h 431076"/>
              <a:gd name="connsiteX80" fmla="*/ 158004 w 334314"/>
              <a:gd name="connsiteY80" fmla="*/ 109538 h 431076"/>
              <a:gd name="connsiteX81" fmla="*/ 150861 w 334314"/>
              <a:gd name="connsiteY81" fmla="*/ 88106 h 43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</a:cxnLst>
            <a:rect l="l" t="t" r="r" b="b"/>
            <a:pathLst>
              <a:path w="334314" h="431076">
                <a:moveTo>
                  <a:pt x="150861" y="88106"/>
                </a:moveTo>
                <a:lnTo>
                  <a:pt x="150861" y="88106"/>
                </a:lnTo>
                <a:cubicBezTo>
                  <a:pt x="145305" y="84137"/>
                  <a:pt x="139953" y="79866"/>
                  <a:pt x="134192" y="76200"/>
                </a:cubicBezTo>
                <a:cubicBezTo>
                  <a:pt x="131197" y="74294"/>
                  <a:pt x="127394" y="73710"/>
                  <a:pt x="124667" y="71438"/>
                </a:cubicBezTo>
                <a:cubicBezTo>
                  <a:pt x="122468" y="69606"/>
                  <a:pt x="121492" y="66675"/>
                  <a:pt x="119904" y="64294"/>
                </a:cubicBezTo>
                <a:cubicBezTo>
                  <a:pt x="119852" y="64032"/>
                  <a:pt x="116103" y="44304"/>
                  <a:pt x="115142" y="42863"/>
                </a:cubicBezTo>
                <a:cubicBezTo>
                  <a:pt x="113554" y="40482"/>
                  <a:pt x="110613" y="39262"/>
                  <a:pt x="107998" y="38100"/>
                </a:cubicBezTo>
                <a:cubicBezTo>
                  <a:pt x="103411" y="36061"/>
                  <a:pt x="93711" y="33338"/>
                  <a:pt x="93711" y="33338"/>
                </a:cubicBezTo>
                <a:cubicBezTo>
                  <a:pt x="77648" y="17275"/>
                  <a:pt x="85813" y="21180"/>
                  <a:pt x="72279" y="16669"/>
                </a:cubicBezTo>
                <a:cubicBezTo>
                  <a:pt x="64732" y="5347"/>
                  <a:pt x="70233" y="10431"/>
                  <a:pt x="53229" y="4763"/>
                </a:cubicBezTo>
                <a:lnTo>
                  <a:pt x="46086" y="2381"/>
                </a:lnTo>
                <a:lnTo>
                  <a:pt x="38942" y="0"/>
                </a:lnTo>
                <a:cubicBezTo>
                  <a:pt x="36561" y="794"/>
                  <a:pt x="34212" y="1691"/>
                  <a:pt x="31798" y="2381"/>
                </a:cubicBezTo>
                <a:cubicBezTo>
                  <a:pt x="28651" y="3280"/>
                  <a:pt x="24996" y="2948"/>
                  <a:pt x="22273" y="4763"/>
                </a:cubicBezTo>
                <a:cubicBezTo>
                  <a:pt x="19892" y="6350"/>
                  <a:pt x="19938" y="10389"/>
                  <a:pt x="17511" y="11906"/>
                </a:cubicBezTo>
                <a:cubicBezTo>
                  <a:pt x="13254" y="14567"/>
                  <a:pt x="3223" y="16669"/>
                  <a:pt x="3223" y="16669"/>
                </a:cubicBezTo>
                <a:cubicBezTo>
                  <a:pt x="-2103" y="37975"/>
                  <a:pt x="90" y="25121"/>
                  <a:pt x="3223" y="64294"/>
                </a:cubicBezTo>
                <a:cubicBezTo>
                  <a:pt x="3537" y="68221"/>
                  <a:pt x="4966" y="88203"/>
                  <a:pt x="7986" y="95250"/>
                </a:cubicBezTo>
                <a:cubicBezTo>
                  <a:pt x="9113" y="97880"/>
                  <a:pt x="11161" y="100013"/>
                  <a:pt x="12748" y="102394"/>
                </a:cubicBezTo>
                <a:cubicBezTo>
                  <a:pt x="8507" y="178741"/>
                  <a:pt x="8951" y="120154"/>
                  <a:pt x="12748" y="161925"/>
                </a:cubicBezTo>
                <a:cubicBezTo>
                  <a:pt x="13828" y="173809"/>
                  <a:pt x="13268" y="185857"/>
                  <a:pt x="15129" y="197644"/>
                </a:cubicBezTo>
                <a:cubicBezTo>
                  <a:pt x="15683" y="201150"/>
                  <a:pt x="18494" y="203906"/>
                  <a:pt x="19892" y="207169"/>
                </a:cubicBezTo>
                <a:cubicBezTo>
                  <a:pt x="20881" y="209476"/>
                  <a:pt x="21028" y="212134"/>
                  <a:pt x="22273" y="214313"/>
                </a:cubicBezTo>
                <a:cubicBezTo>
                  <a:pt x="27726" y="223856"/>
                  <a:pt x="28572" y="223275"/>
                  <a:pt x="36561" y="228600"/>
                </a:cubicBezTo>
                <a:cubicBezTo>
                  <a:pt x="42228" y="245603"/>
                  <a:pt x="38538" y="238711"/>
                  <a:pt x="46086" y="250031"/>
                </a:cubicBezTo>
                <a:cubicBezTo>
                  <a:pt x="46880" y="252412"/>
                  <a:pt x="46833" y="255269"/>
                  <a:pt x="48467" y="257175"/>
                </a:cubicBezTo>
                <a:cubicBezTo>
                  <a:pt x="59252" y="269759"/>
                  <a:pt x="58034" y="263165"/>
                  <a:pt x="67517" y="271463"/>
                </a:cubicBezTo>
                <a:cubicBezTo>
                  <a:pt x="71741" y="275159"/>
                  <a:pt x="75454" y="279400"/>
                  <a:pt x="79423" y="283369"/>
                </a:cubicBezTo>
                <a:cubicBezTo>
                  <a:pt x="80714" y="289824"/>
                  <a:pt x="80727" y="297747"/>
                  <a:pt x="86567" y="302419"/>
                </a:cubicBezTo>
                <a:cubicBezTo>
                  <a:pt x="88527" y="303987"/>
                  <a:pt x="91330" y="304006"/>
                  <a:pt x="93711" y="304800"/>
                </a:cubicBezTo>
                <a:cubicBezTo>
                  <a:pt x="102336" y="317739"/>
                  <a:pt x="93378" y="307949"/>
                  <a:pt x="110379" y="314325"/>
                </a:cubicBezTo>
                <a:cubicBezTo>
                  <a:pt x="113059" y="315330"/>
                  <a:pt x="114963" y="317808"/>
                  <a:pt x="117523" y="319088"/>
                </a:cubicBezTo>
                <a:cubicBezTo>
                  <a:pt x="119768" y="320211"/>
                  <a:pt x="122286" y="320675"/>
                  <a:pt x="124667" y="321469"/>
                </a:cubicBezTo>
                <a:cubicBezTo>
                  <a:pt x="127048" y="320675"/>
                  <a:pt x="129851" y="320656"/>
                  <a:pt x="131811" y="319088"/>
                </a:cubicBezTo>
                <a:cubicBezTo>
                  <a:pt x="134046" y="317300"/>
                  <a:pt x="133779" y="312565"/>
                  <a:pt x="136573" y="311944"/>
                </a:cubicBezTo>
                <a:cubicBezTo>
                  <a:pt x="142052" y="310726"/>
                  <a:pt x="147686" y="313531"/>
                  <a:pt x="153242" y="314325"/>
                </a:cubicBezTo>
                <a:cubicBezTo>
                  <a:pt x="155623" y="315119"/>
                  <a:pt x="158818" y="314746"/>
                  <a:pt x="160386" y="316706"/>
                </a:cubicBezTo>
                <a:cubicBezTo>
                  <a:pt x="162430" y="319262"/>
                  <a:pt x="162269" y="322996"/>
                  <a:pt x="162767" y="326231"/>
                </a:cubicBezTo>
                <a:cubicBezTo>
                  <a:pt x="167324" y="355853"/>
                  <a:pt x="162212" y="338855"/>
                  <a:pt x="167529" y="354806"/>
                </a:cubicBezTo>
                <a:cubicBezTo>
                  <a:pt x="168323" y="363537"/>
                  <a:pt x="168074" y="372427"/>
                  <a:pt x="169911" y="381000"/>
                </a:cubicBezTo>
                <a:cubicBezTo>
                  <a:pt x="171289" y="387428"/>
                  <a:pt x="177263" y="389654"/>
                  <a:pt x="181817" y="392906"/>
                </a:cubicBezTo>
                <a:cubicBezTo>
                  <a:pt x="185047" y="395213"/>
                  <a:pt x="188167" y="397669"/>
                  <a:pt x="191342" y="400050"/>
                </a:cubicBezTo>
                <a:cubicBezTo>
                  <a:pt x="192066" y="401861"/>
                  <a:pt x="198641" y="419255"/>
                  <a:pt x="200867" y="421481"/>
                </a:cubicBezTo>
                <a:cubicBezTo>
                  <a:pt x="202642" y="423256"/>
                  <a:pt x="205630" y="423069"/>
                  <a:pt x="208011" y="423863"/>
                </a:cubicBezTo>
                <a:cubicBezTo>
                  <a:pt x="215630" y="435291"/>
                  <a:pt x="209916" y="431483"/>
                  <a:pt x="217536" y="423863"/>
                </a:cubicBezTo>
                <a:cubicBezTo>
                  <a:pt x="219560" y="421839"/>
                  <a:pt x="222298" y="420688"/>
                  <a:pt x="224679" y="419100"/>
                </a:cubicBezTo>
                <a:cubicBezTo>
                  <a:pt x="225473" y="411956"/>
                  <a:pt x="225318" y="404642"/>
                  <a:pt x="227061" y="397669"/>
                </a:cubicBezTo>
                <a:cubicBezTo>
                  <a:pt x="229383" y="388382"/>
                  <a:pt x="240826" y="385937"/>
                  <a:pt x="248492" y="383381"/>
                </a:cubicBezTo>
                <a:cubicBezTo>
                  <a:pt x="262779" y="384969"/>
                  <a:pt x="277123" y="386111"/>
                  <a:pt x="291354" y="388144"/>
                </a:cubicBezTo>
                <a:cubicBezTo>
                  <a:pt x="293839" y="388499"/>
                  <a:pt x="296723" y="388750"/>
                  <a:pt x="298498" y="390525"/>
                </a:cubicBezTo>
                <a:cubicBezTo>
                  <a:pt x="308009" y="400036"/>
                  <a:pt x="292389" y="395978"/>
                  <a:pt x="305642" y="404813"/>
                </a:cubicBezTo>
                <a:cubicBezTo>
                  <a:pt x="308365" y="406628"/>
                  <a:pt x="311992" y="406400"/>
                  <a:pt x="315167" y="407194"/>
                </a:cubicBezTo>
                <a:cubicBezTo>
                  <a:pt x="316033" y="406905"/>
                  <a:pt x="335867" y="403541"/>
                  <a:pt x="334217" y="395288"/>
                </a:cubicBezTo>
                <a:cubicBezTo>
                  <a:pt x="333656" y="392482"/>
                  <a:pt x="329454" y="392113"/>
                  <a:pt x="327073" y="390525"/>
                </a:cubicBezTo>
                <a:cubicBezTo>
                  <a:pt x="326279" y="387350"/>
                  <a:pt x="325727" y="384105"/>
                  <a:pt x="324692" y="381000"/>
                </a:cubicBezTo>
                <a:cubicBezTo>
                  <a:pt x="323340" y="376945"/>
                  <a:pt x="320316" y="373351"/>
                  <a:pt x="319929" y="369094"/>
                </a:cubicBezTo>
                <a:cubicBezTo>
                  <a:pt x="319492" y="364285"/>
                  <a:pt x="321673" y="359592"/>
                  <a:pt x="322311" y="354806"/>
                </a:cubicBezTo>
                <a:cubicBezTo>
                  <a:pt x="323261" y="347681"/>
                  <a:pt x="323898" y="340519"/>
                  <a:pt x="324692" y="333375"/>
                </a:cubicBezTo>
                <a:cubicBezTo>
                  <a:pt x="323104" y="307975"/>
                  <a:pt x="322819" y="282460"/>
                  <a:pt x="319929" y="257175"/>
                </a:cubicBezTo>
                <a:cubicBezTo>
                  <a:pt x="319604" y="254332"/>
                  <a:pt x="317594" y="251548"/>
                  <a:pt x="315167" y="250031"/>
                </a:cubicBezTo>
                <a:cubicBezTo>
                  <a:pt x="310910" y="247370"/>
                  <a:pt x="300879" y="245269"/>
                  <a:pt x="300879" y="245269"/>
                </a:cubicBezTo>
                <a:cubicBezTo>
                  <a:pt x="300085" y="253206"/>
                  <a:pt x="299711" y="261197"/>
                  <a:pt x="298498" y="269081"/>
                </a:cubicBezTo>
                <a:cubicBezTo>
                  <a:pt x="298116" y="271562"/>
                  <a:pt x="298077" y="274657"/>
                  <a:pt x="296117" y="276225"/>
                </a:cubicBezTo>
                <a:cubicBezTo>
                  <a:pt x="293561" y="278269"/>
                  <a:pt x="289767" y="277812"/>
                  <a:pt x="286592" y="278606"/>
                </a:cubicBezTo>
                <a:cubicBezTo>
                  <a:pt x="285004" y="280987"/>
                  <a:pt x="284256" y="284233"/>
                  <a:pt x="281829" y="285750"/>
                </a:cubicBezTo>
                <a:cubicBezTo>
                  <a:pt x="277572" y="288411"/>
                  <a:pt x="272304" y="288925"/>
                  <a:pt x="267542" y="290513"/>
                </a:cubicBezTo>
                <a:cubicBezTo>
                  <a:pt x="264827" y="291418"/>
                  <a:pt x="262958" y="293995"/>
                  <a:pt x="260398" y="295275"/>
                </a:cubicBezTo>
                <a:cubicBezTo>
                  <a:pt x="258153" y="296397"/>
                  <a:pt x="255635" y="296862"/>
                  <a:pt x="253254" y="297656"/>
                </a:cubicBezTo>
                <a:cubicBezTo>
                  <a:pt x="242142" y="296862"/>
                  <a:pt x="230681" y="298146"/>
                  <a:pt x="219917" y="295275"/>
                </a:cubicBezTo>
                <a:cubicBezTo>
                  <a:pt x="217492" y="294628"/>
                  <a:pt x="218659" y="290376"/>
                  <a:pt x="217536" y="288131"/>
                </a:cubicBezTo>
                <a:cubicBezTo>
                  <a:pt x="213358" y="279776"/>
                  <a:pt x="211197" y="279806"/>
                  <a:pt x="203248" y="273844"/>
                </a:cubicBezTo>
                <a:cubicBezTo>
                  <a:pt x="192726" y="258059"/>
                  <a:pt x="205090" y="275595"/>
                  <a:pt x="191342" y="259556"/>
                </a:cubicBezTo>
                <a:cubicBezTo>
                  <a:pt x="188759" y="256543"/>
                  <a:pt x="186579" y="253206"/>
                  <a:pt x="184198" y="250031"/>
                </a:cubicBezTo>
                <a:cubicBezTo>
                  <a:pt x="178485" y="232891"/>
                  <a:pt x="185422" y="254311"/>
                  <a:pt x="179436" y="233363"/>
                </a:cubicBezTo>
                <a:cubicBezTo>
                  <a:pt x="178746" y="230949"/>
                  <a:pt x="177744" y="228633"/>
                  <a:pt x="177054" y="226219"/>
                </a:cubicBezTo>
                <a:cubicBezTo>
                  <a:pt x="176155" y="223072"/>
                  <a:pt x="175962" y="219702"/>
                  <a:pt x="174673" y="216694"/>
                </a:cubicBezTo>
                <a:cubicBezTo>
                  <a:pt x="173546" y="214063"/>
                  <a:pt x="171498" y="211931"/>
                  <a:pt x="169911" y="209550"/>
                </a:cubicBezTo>
                <a:cubicBezTo>
                  <a:pt x="169117" y="205581"/>
                  <a:pt x="167976" y="201667"/>
                  <a:pt x="167529" y="197644"/>
                </a:cubicBezTo>
                <a:cubicBezTo>
                  <a:pt x="163238" y="159033"/>
                  <a:pt x="168837" y="177756"/>
                  <a:pt x="162767" y="159544"/>
                </a:cubicBezTo>
                <a:cubicBezTo>
                  <a:pt x="161973" y="152400"/>
                  <a:pt x="161068" y="145268"/>
                  <a:pt x="160386" y="138113"/>
                </a:cubicBezTo>
                <a:cubicBezTo>
                  <a:pt x="159480" y="128598"/>
                  <a:pt x="159422" y="118990"/>
                  <a:pt x="158004" y="109538"/>
                </a:cubicBezTo>
                <a:cubicBezTo>
                  <a:pt x="157033" y="103065"/>
                  <a:pt x="152051" y="91678"/>
                  <a:pt x="150861" y="88106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52" name="Freeform 1951"/>
          <p:cNvSpPr/>
          <p:nvPr/>
        </p:nvSpPr>
        <p:spPr>
          <a:xfrm>
            <a:off x="5692217" y="1022643"/>
            <a:ext cx="393700" cy="572714"/>
          </a:xfrm>
          <a:custGeom>
            <a:avLst/>
            <a:gdLst>
              <a:gd name="connsiteX0" fmla="*/ 152400 w 393700"/>
              <a:gd name="connsiteY0" fmla="*/ 0 h 572714"/>
              <a:gd name="connsiteX1" fmla="*/ 152400 w 393700"/>
              <a:gd name="connsiteY1" fmla="*/ 0 h 572714"/>
              <a:gd name="connsiteX2" fmla="*/ 133350 w 393700"/>
              <a:gd name="connsiteY2" fmla="*/ 50800 h 572714"/>
              <a:gd name="connsiteX3" fmla="*/ 114300 w 393700"/>
              <a:gd name="connsiteY3" fmla="*/ 127000 h 572714"/>
              <a:gd name="connsiteX4" fmla="*/ 88900 w 393700"/>
              <a:gd name="connsiteY4" fmla="*/ 171450 h 572714"/>
              <a:gd name="connsiteX5" fmla="*/ 69850 w 393700"/>
              <a:gd name="connsiteY5" fmla="*/ 215900 h 572714"/>
              <a:gd name="connsiteX6" fmla="*/ 57150 w 393700"/>
              <a:gd name="connsiteY6" fmla="*/ 234950 h 572714"/>
              <a:gd name="connsiteX7" fmla="*/ 38100 w 393700"/>
              <a:gd name="connsiteY7" fmla="*/ 241300 h 572714"/>
              <a:gd name="connsiteX8" fmla="*/ 19050 w 393700"/>
              <a:gd name="connsiteY8" fmla="*/ 304800 h 572714"/>
              <a:gd name="connsiteX9" fmla="*/ 12700 w 393700"/>
              <a:gd name="connsiteY9" fmla="*/ 323850 h 572714"/>
              <a:gd name="connsiteX10" fmla="*/ 0 w 393700"/>
              <a:gd name="connsiteY10" fmla="*/ 381000 h 572714"/>
              <a:gd name="connsiteX11" fmla="*/ 6350 w 393700"/>
              <a:gd name="connsiteY11" fmla="*/ 419100 h 572714"/>
              <a:gd name="connsiteX12" fmla="*/ 38100 w 393700"/>
              <a:gd name="connsiteY12" fmla="*/ 457200 h 572714"/>
              <a:gd name="connsiteX13" fmla="*/ 57150 w 393700"/>
              <a:gd name="connsiteY13" fmla="*/ 463550 h 572714"/>
              <a:gd name="connsiteX14" fmla="*/ 95250 w 393700"/>
              <a:gd name="connsiteY14" fmla="*/ 514350 h 572714"/>
              <a:gd name="connsiteX15" fmla="*/ 101600 w 393700"/>
              <a:gd name="connsiteY15" fmla="*/ 533400 h 572714"/>
              <a:gd name="connsiteX16" fmla="*/ 120650 w 393700"/>
              <a:gd name="connsiteY16" fmla="*/ 539750 h 572714"/>
              <a:gd name="connsiteX17" fmla="*/ 139700 w 393700"/>
              <a:gd name="connsiteY17" fmla="*/ 552450 h 572714"/>
              <a:gd name="connsiteX18" fmla="*/ 146050 w 393700"/>
              <a:gd name="connsiteY18" fmla="*/ 571500 h 572714"/>
              <a:gd name="connsiteX19" fmla="*/ 215900 w 393700"/>
              <a:gd name="connsiteY19" fmla="*/ 558800 h 572714"/>
              <a:gd name="connsiteX20" fmla="*/ 234950 w 393700"/>
              <a:gd name="connsiteY20" fmla="*/ 546100 h 572714"/>
              <a:gd name="connsiteX21" fmla="*/ 254000 w 393700"/>
              <a:gd name="connsiteY21" fmla="*/ 501650 h 572714"/>
              <a:gd name="connsiteX22" fmla="*/ 273050 w 393700"/>
              <a:gd name="connsiteY22" fmla="*/ 495300 h 572714"/>
              <a:gd name="connsiteX23" fmla="*/ 292100 w 393700"/>
              <a:gd name="connsiteY23" fmla="*/ 431800 h 572714"/>
              <a:gd name="connsiteX24" fmla="*/ 317500 w 393700"/>
              <a:gd name="connsiteY24" fmla="*/ 425450 h 572714"/>
              <a:gd name="connsiteX25" fmla="*/ 349250 w 393700"/>
              <a:gd name="connsiteY25" fmla="*/ 368300 h 572714"/>
              <a:gd name="connsiteX26" fmla="*/ 368300 w 393700"/>
              <a:gd name="connsiteY26" fmla="*/ 361950 h 572714"/>
              <a:gd name="connsiteX27" fmla="*/ 393700 w 393700"/>
              <a:gd name="connsiteY27" fmla="*/ 298450 h 572714"/>
              <a:gd name="connsiteX28" fmla="*/ 342900 w 393700"/>
              <a:gd name="connsiteY28" fmla="*/ 273050 h 572714"/>
              <a:gd name="connsiteX29" fmla="*/ 330200 w 393700"/>
              <a:gd name="connsiteY29" fmla="*/ 234950 h 572714"/>
              <a:gd name="connsiteX30" fmla="*/ 311150 w 393700"/>
              <a:gd name="connsiteY30" fmla="*/ 152400 h 572714"/>
              <a:gd name="connsiteX31" fmla="*/ 298450 w 393700"/>
              <a:gd name="connsiteY31" fmla="*/ 114300 h 572714"/>
              <a:gd name="connsiteX32" fmla="*/ 292100 w 393700"/>
              <a:gd name="connsiteY32" fmla="*/ 95250 h 572714"/>
              <a:gd name="connsiteX33" fmla="*/ 266700 w 393700"/>
              <a:gd name="connsiteY33" fmla="*/ 76200 h 572714"/>
              <a:gd name="connsiteX34" fmla="*/ 247650 w 393700"/>
              <a:gd name="connsiteY34" fmla="*/ 69850 h 572714"/>
              <a:gd name="connsiteX35" fmla="*/ 234950 w 393700"/>
              <a:gd name="connsiteY35" fmla="*/ 50800 h 572714"/>
              <a:gd name="connsiteX36" fmla="*/ 196850 w 393700"/>
              <a:gd name="connsiteY36" fmla="*/ 38100 h 572714"/>
              <a:gd name="connsiteX37" fmla="*/ 152400 w 393700"/>
              <a:gd name="connsiteY37" fmla="*/ 0 h 57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393700" h="572714">
                <a:moveTo>
                  <a:pt x="152400" y="0"/>
                </a:moveTo>
                <a:lnTo>
                  <a:pt x="152400" y="0"/>
                </a:lnTo>
                <a:cubicBezTo>
                  <a:pt x="146050" y="16933"/>
                  <a:pt x="138318" y="33411"/>
                  <a:pt x="133350" y="50800"/>
                </a:cubicBezTo>
                <a:cubicBezTo>
                  <a:pt x="126208" y="75796"/>
                  <a:pt x="129606" y="104041"/>
                  <a:pt x="114300" y="127000"/>
                </a:cubicBezTo>
                <a:cubicBezTo>
                  <a:pt x="101545" y="146132"/>
                  <a:pt x="98568" y="148892"/>
                  <a:pt x="88900" y="171450"/>
                </a:cubicBezTo>
                <a:cubicBezTo>
                  <a:pt x="73634" y="207070"/>
                  <a:pt x="93919" y="173779"/>
                  <a:pt x="69850" y="215900"/>
                </a:cubicBezTo>
                <a:cubicBezTo>
                  <a:pt x="66064" y="222526"/>
                  <a:pt x="63109" y="230182"/>
                  <a:pt x="57150" y="234950"/>
                </a:cubicBezTo>
                <a:cubicBezTo>
                  <a:pt x="51923" y="239131"/>
                  <a:pt x="44450" y="239183"/>
                  <a:pt x="38100" y="241300"/>
                </a:cubicBezTo>
                <a:cubicBezTo>
                  <a:pt x="7919" y="331842"/>
                  <a:pt x="38244" y="237622"/>
                  <a:pt x="19050" y="304800"/>
                </a:cubicBezTo>
                <a:cubicBezTo>
                  <a:pt x="17211" y="311236"/>
                  <a:pt x="14323" y="317356"/>
                  <a:pt x="12700" y="323850"/>
                </a:cubicBezTo>
                <a:cubicBezTo>
                  <a:pt x="7967" y="342782"/>
                  <a:pt x="4233" y="361950"/>
                  <a:pt x="0" y="381000"/>
                </a:cubicBezTo>
                <a:cubicBezTo>
                  <a:pt x="2117" y="393700"/>
                  <a:pt x="2279" y="406886"/>
                  <a:pt x="6350" y="419100"/>
                </a:cubicBezTo>
                <a:cubicBezTo>
                  <a:pt x="9697" y="429141"/>
                  <a:pt x="30521" y="452147"/>
                  <a:pt x="38100" y="457200"/>
                </a:cubicBezTo>
                <a:cubicBezTo>
                  <a:pt x="43669" y="460913"/>
                  <a:pt x="50800" y="461433"/>
                  <a:pt x="57150" y="463550"/>
                </a:cubicBezTo>
                <a:cubicBezTo>
                  <a:pt x="72843" y="510630"/>
                  <a:pt x="57876" y="495663"/>
                  <a:pt x="95250" y="514350"/>
                </a:cubicBezTo>
                <a:cubicBezTo>
                  <a:pt x="97367" y="520700"/>
                  <a:pt x="96867" y="528667"/>
                  <a:pt x="101600" y="533400"/>
                </a:cubicBezTo>
                <a:cubicBezTo>
                  <a:pt x="106333" y="538133"/>
                  <a:pt x="114663" y="536757"/>
                  <a:pt x="120650" y="539750"/>
                </a:cubicBezTo>
                <a:cubicBezTo>
                  <a:pt x="127476" y="543163"/>
                  <a:pt x="133350" y="548217"/>
                  <a:pt x="139700" y="552450"/>
                </a:cubicBezTo>
                <a:cubicBezTo>
                  <a:pt x="141817" y="558800"/>
                  <a:pt x="139516" y="570048"/>
                  <a:pt x="146050" y="571500"/>
                </a:cubicBezTo>
                <a:cubicBezTo>
                  <a:pt x="167591" y="576287"/>
                  <a:pt x="194742" y="565853"/>
                  <a:pt x="215900" y="558800"/>
                </a:cubicBezTo>
                <a:cubicBezTo>
                  <a:pt x="222250" y="554567"/>
                  <a:pt x="230717" y="552450"/>
                  <a:pt x="234950" y="546100"/>
                </a:cubicBezTo>
                <a:cubicBezTo>
                  <a:pt x="252381" y="519953"/>
                  <a:pt x="228387" y="522140"/>
                  <a:pt x="254000" y="501650"/>
                </a:cubicBezTo>
                <a:cubicBezTo>
                  <a:pt x="259227" y="497469"/>
                  <a:pt x="266700" y="497417"/>
                  <a:pt x="273050" y="495300"/>
                </a:cubicBezTo>
                <a:cubicBezTo>
                  <a:pt x="275256" y="486476"/>
                  <a:pt x="287977" y="432831"/>
                  <a:pt x="292100" y="431800"/>
                </a:cubicBezTo>
                <a:lnTo>
                  <a:pt x="317500" y="425450"/>
                </a:lnTo>
                <a:cubicBezTo>
                  <a:pt x="323091" y="408676"/>
                  <a:pt x="332874" y="373759"/>
                  <a:pt x="349250" y="368300"/>
                </a:cubicBezTo>
                <a:lnTo>
                  <a:pt x="368300" y="361950"/>
                </a:lnTo>
                <a:cubicBezTo>
                  <a:pt x="383993" y="314870"/>
                  <a:pt x="375013" y="335824"/>
                  <a:pt x="393700" y="298450"/>
                </a:cubicBezTo>
                <a:cubicBezTo>
                  <a:pt x="376091" y="245622"/>
                  <a:pt x="408569" y="324126"/>
                  <a:pt x="342900" y="273050"/>
                </a:cubicBezTo>
                <a:cubicBezTo>
                  <a:pt x="332333" y="264831"/>
                  <a:pt x="330200" y="234950"/>
                  <a:pt x="330200" y="234950"/>
                </a:cubicBezTo>
                <a:cubicBezTo>
                  <a:pt x="319491" y="138573"/>
                  <a:pt x="334058" y="209670"/>
                  <a:pt x="311150" y="152400"/>
                </a:cubicBezTo>
                <a:cubicBezTo>
                  <a:pt x="306178" y="139971"/>
                  <a:pt x="302683" y="127000"/>
                  <a:pt x="298450" y="114300"/>
                </a:cubicBezTo>
                <a:lnTo>
                  <a:pt x="292100" y="95250"/>
                </a:lnTo>
                <a:cubicBezTo>
                  <a:pt x="288753" y="85210"/>
                  <a:pt x="275889" y="81451"/>
                  <a:pt x="266700" y="76200"/>
                </a:cubicBezTo>
                <a:cubicBezTo>
                  <a:pt x="260888" y="72879"/>
                  <a:pt x="254000" y="71967"/>
                  <a:pt x="247650" y="69850"/>
                </a:cubicBezTo>
                <a:cubicBezTo>
                  <a:pt x="243417" y="63500"/>
                  <a:pt x="241422" y="54845"/>
                  <a:pt x="234950" y="50800"/>
                </a:cubicBezTo>
                <a:cubicBezTo>
                  <a:pt x="223598" y="43705"/>
                  <a:pt x="196850" y="38100"/>
                  <a:pt x="196850" y="38100"/>
                </a:cubicBezTo>
                <a:cubicBezTo>
                  <a:pt x="172516" y="21878"/>
                  <a:pt x="159808" y="6350"/>
                  <a:pt x="152400" y="0"/>
                </a:cubicBezTo>
                <a:close/>
              </a:path>
            </a:pathLst>
          </a:custGeom>
          <a:solidFill>
            <a:srgbClr val="C00000"/>
          </a:soli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54" name="Freeform 1953"/>
          <p:cNvSpPr/>
          <p:nvPr/>
        </p:nvSpPr>
        <p:spPr>
          <a:xfrm>
            <a:off x="7546630" y="2090309"/>
            <a:ext cx="1097822" cy="953095"/>
          </a:xfrm>
          <a:custGeom>
            <a:avLst/>
            <a:gdLst>
              <a:gd name="connsiteX0" fmla="*/ 102052 w 1052724"/>
              <a:gd name="connsiteY0" fmla="*/ 592931 h 909637"/>
              <a:gd name="connsiteX1" fmla="*/ 102052 w 1052724"/>
              <a:gd name="connsiteY1" fmla="*/ 592931 h 909637"/>
              <a:gd name="connsiteX2" fmla="*/ 92527 w 1052724"/>
              <a:gd name="connsiteY2" fmla="*/ 573881 h 909637"/>
              <a:gd name="connsiteX3" fmla="*/ 85383 w 1052724"/>
              <a:gd name="connsiteY3" fmla="*/ 559594 h 909637"/>
              <a:gd name="connsiteX4" fmla="*/ 83002 w 1052724"/>
              <a:gd name="connsiteY4" fmla="*/ 552450 h 909637"/>
              <a:gd name="connsiteX5" fmla="*/ 87764 w 1052724"/>
              <a:gd name="connsiteY5" fmla="*/ 535781 h 909637"/>
              <a:gd name="connsiteX6" fmla="*/ 85383 w 1052724"/>
              <a:gd name="connsiteY6" fmla="*/ 516731 h 909637"/>
              <a:gd name="connsiteX7" fmla="*/ 78239 w 1052724"/>
              <a:gd name="connsiteY7" fmla="*/ 511969 h 909637"/>
              <a:gd name="connsiteX8" fmla="*/ 75858 w 1052724"/>
              <a:gd name="connsiteY8" fmla="*/ 504825 h 909637"/>
              <a:gd name="connsiteX9" fmla="*/ 59189 w 1052724"/>
              <a:gd name="connsiteY9" fmla="*/ 485775 h 909637"/>
              <a:gd name="connsiteX10" fmla="*/ 59189 w 1052724"/>
              <a:gd name="connsiteY10" fmla="*/ 447675 h 909637"/>
              <a:gd name="connsiteX11" fmla="*/ 63952 w 1052724"/>
              <a:gd name="connsiteY11" fmla="*/ 438150 h 909637"/>
              <a:gd name="connsiteX12" fmla="*/ 66333 w 1052724"/>
              <a:gd name="connsiteY12" fmla="*/ 431006 h 909637"/>
              <a:gd name="connsiteX13" fmla="*/ 61570 w 1052724"/>
              <a:gd name="connsiteY13" fmla="*/ 359569 h 909637"/>
              <a:gd name="connsiteX14" fmla="*/ 61570 w 1052724"/>
              <a:gd name="connsiteY14" fmla="*/ 321469 h 909637"/>
              <a:gd name="connsiteX15" fmla="*/ 66333 w 1052724"/>
              <a:gd name="connsiteY15" fmla="*/ 314325 h 909637"/>
              <a:gd name="connsiteX16" fmla="*/ 68714 w 1052724"/>
              <a:gd name="connsiteY16" fmla="*/ 304800 h 909637"/>
              <a:gd name="connsiteX17" fmla="*/ 83002 w 1052724"/>
              <a:gd name="connsiteY17" fmla="*/ 290512 h 909637"/>
              <a:gd name="connsiteX18" fmla="*/ 90145 w 1052724"/>
              <a:gd name="connsiteY18" fmla="*/ 285750 h 909637"/>
              <a:gd name="connsiteX19" fmla="*/ 99670 w 1052724"/>
              <a:gd name="connsiteY19" fmla="*/ 280987 h 909637"/>
              <a:gd name="connsiteX20" fmla="*/ 121102 w 1052724"/>
              <a:gd name="connsiteY20" fmla="*/ 278606 h 909637"/>
              <a:gd name="connsiteX21" fmla="*/ 130627 w 1052724"/>
              <a:gd name="connsiteY21" fmla="*/ 276225 h 909637"/>
              <a:gd name="connsiteX22" fmla="*/ 137770 w 1052724"/>
              <a:gd name="connsiteY22" fmla="*/ 271462 h 909637"/>
              <a:gd name="connsiteX23" fmla="*/ 152058 w 1052724"/>
              <a:gd name="connsiteY23" fmla="*/ 269081 h 909637"/>
              <a:gd name="connsiteX24" fmla="*/ 159202 w 1052724"/>
              <a:gd name="connsiteY24" fmla="*/ 264319 h 909637"/>
              <a:gd name="connsiteX25" fmla="*/ 173489 w 1052724"/>
              <a:gd name="connsiteY25" fmla="*/ 259556 h 909637"/>
              <a:gd name="connsiteX26" fmla="*/ 180633 w 1052724"/>
              <a:gd name="connsiteY26" fmla="*/ 254794 h 909637"/>
              <a:gd name="connsiteX27" fmla="*/ 192539 w 1052724"/>
              <a:gd name="connsiteY27" fmla="*/ 242887 h 909637"/>
              <a:gd name="connsiteX28" fmla="*/ 206827 w 1052724"/>
              <a:gd name="connsiteY28" fmla="*/ 238125 h 909637"/>
              <a:gd name="connsiteX29" fmla="*/ 213970 w 1052724"/>
              <a:gd name="connsiteY29" fmla="*/ 230981 h 909637"/>
              <a:gd name="connsiteX30" fmla="*/ 221114 w 1052724"/>
              <a:gd name="connsiteY30" fmla="*/ 228600 h 909637"/>
              <a:gd name="connsiteX31" fmla="*/ 242545 w 1052724"/>
              <a:gd name="connsiteY31" fmla="*/ 223837 h 909637"/>
              <a:gd name="connsiteX32" fmla="*/ 302077 w 1052724"/>
              <a:gd name="connsiteY32" fmla="*/ 219075 h 909637"/>
              <a:gd name="connsiteX33" fmla="*/ 306839 w 1052724"/>
              <a:gd name="connsiteY33" fmla="*/ 211931 h 909637"/>
              <a:gd name="connsiteX34" fmla="*/ 313983 w 1052724"/>
              <a:gd name="connsiteY34" fmla="*/ 207169 h 909637"/>
              <a:gd name="connsiteX35" fmla="*/ 328270 w 1052724"/>
              <a:gd name="connsiteY35" fmla="*/ 192881 h 909637"/>
              <a:gd name="connsiteX36" fmla="*/ 340177 w 1052724"/>
              <a:gd name="connsiteY36" fmla="*/ 183356 h 909637"/>
              <a:gd name="connsiteX37" fmla="*/ 361608 w 1052724"/>
              <a:gd name="connsiteY37" fmla="*/ 171450 h 909637"/>
              <a:gd name="connsiteX38" fmla="*/ 371133 w 1052724"/>
              <a:gd name="connsiteY38" fmla="*/ 154781 h 909637"/>
              <a:gd name="connsiteX39" fmla="*/ 378277 w 1052724"/>
              <a:gd name="connsiteY39" fmla="*/ 152400 h 909637"/>
              <a:gd name="connsiteX40" fmla="*/ 385420 w 1052724"/>
              <a:gd name="connsiteY40" fmla="*/ 138112 h 909637"/>
              <a:gd name="connsiteX41" fmla="*/ 394945 w 1052724"/>
              <a:gd name="connsiteY41" fmla="*/ 135731 h 909637"/>
              <a:gd name="connsiteX42" fmla="*/ 399708 w 1052724"/>
              <a:gd name="connsiteY42" fmla="*/ 128587 h 909637"/>
              <a:gd name="connsiteX43" fmla="*/ 430664 w 1052724"/>
              <a:gd name="connsiteY43" fmla="*/ 126206 h 909637"/>
              <a:gd name="connsiteX44" fmla="*/ 437808 w 1052724"/>
              <a:gd name="connsiteY44" fmla="*/ 123825 h 909637"/>
              <a:gd name="connsiteX45" fmla="*/ 444952 w 1052724"/>
              <a:gd name="connsiteY45" fmla="*/ 119062 h 909637"/>
              <a:gd name="connsiteX46" fmla="*/ 452095 w 1052724"/>
              <a:gd name="connsiteY46" fmla="*/ 111919 h 909637"/>
              <a:gd name="connsiteX47" fmla="*/ 461620 w 1052724"/>
              <a:gd name="connsiteY47" fmla="*/ 107156 h 909637"/>
              <a:gd name="connsiteX48" fmla="*/ 468764 w 1052724"/>
              <a:gd name="connsiteY48" fmla="*/ 102394 h 909637"/>
              <a:gd name="connsiteX49" fmla="*/ 473527 w 1052724"/>
              <a:gd name="connsiteY49" fmla="*/ 95250 h 909637"/>
              <a:gd name="connsiteX50" fmla="*/ 480670 w 1052724"/>
              <a:gd name="connsiteY50" fmla="*/ 92869 h 909637"/>
              <a:gd name="connsiteX51" fmla="*/ 485433 w 1052724"/>
              <a:gd name="connsiteY51" fmla="*/ 78581 h 909637"/>
              <a:gd name="connsiteX52" fmla="*/ 490195 w 1052724"/>
              <a:gd name="connsiteY52" fmla="*/ 71437 h 909637"/>
              <a:gd name="connsiteX53" fmla="*/ 492577 w 1052724"/>
              <a:gd name="connsiteY53" fmla="*/ 61912 h 909637"/>
              <a:gd name="connsiteX54" fmla="*/ 497339 w 1052724"/>
              <a:gd name="connsiteY54" fmla="*/ 54769 h 909637"/>
              <a:gd name="connsiteX55" fmla="*/ 506864 w 1052724"/>
              <a:gd name="connsiteY55" fmla="*/ 38100 h 909637"/>
              <a:gd name="connsiteX56" fmla="*/ 509245 w 1052724"/>
              <a:gd name="connsiteY56" fmla="*/ 28575 h 909637"/>
              <a:gd name="connsiteX57" fmla="*/ 516389 w 1052724"/>
              <a:gd name="connsiteY57" fmla="*/ 26194 h 909637"/>
              <a:gd name="connsiteX58" fmla="*/ 521152 w 1052724"/>
              <a:gd name="connsiteY58" fmla="*/ 19050 h 909637"/>
              <a:gd name="connsiteX59" fmla="*/ 523533 w 1052724"/>
              <a:gd name="connsiteY59" fmla="*/ 9525 h 909637"/>
              <a:gd name="connsiteX60" fmla="*/ 537820 w 1052724"/>
              <a:gd name="connsiteY60" fmla="*/ 0 h 909637"/>
              <a:gd name="connsiteX61" fmla="*/ 599733 w 1052724"/>
              <a:gd name="connsiteY61" fmla="*/ 2381 h 909637"/>
              <a:gd name="connsiteX62" fmla="*/ 606877 w 1052724"/>
              <a:gd name="connsiteY62" fmla="*/ 7144 h 909637"/>
              <a:gd name="connsiteX63" fmla="*/ 621164 w 1052724"/>
              <a:gd name="connsiteY63" fmla="*/ 21431 h 909637"/>
              <a:gd name="connsiteX64" fmla="*/ 630689 w 1052724"/>
              <a:gd name="connsiteY64" fmla="*/ 23812 h 909637"/>
              <a:gd name="connsiteX65" fmla="*/ 678314 w 1052724"/>
              <a:gd name="connsiteY65" fmla="*/ 28575 h 909637"/>
              <a:gd name="connsiteX66" fmla="*/ 692602 w 1052724"/>
              <a:gd name="connsiteY66" fmla="*/ 33337 h 909637"/>
              <a:gd name="connsiteX67" fmla="*/ 699745 w 1052724"/>
              <a:gd name="connsiteY67" fmla="*/ 35719 h 909637"/>
              <a:gd name="connsiteX68" fmla="*/ 702127 w 1052724"/>
              <a:gd name="connsiteY68" fmla="*/ 45244 h 909637"/>
              <a:gd name="connsiteX69" fmla="*/ 709270 w 1052724"/>
              <a:gd name="connsiteY69" fmla="*/ 47625 h 909637"/>
              <a:gd name="connsiteX70" fmla="*/ 716414 w 1052724"/>
              <a:gd name="connsiteY70" fmla="*/ 52387 h 909637"/>
              <a:gd name="connsiteX71" fmla="*/ 735464 w 1052724"/>
              <a:gd name="connsiteY71" fmla="*/ 57150 h 909637"/>
              <a:gd name="connsiteX72" fmla="*/ 759277 w 1052724"/>
              <a:gd name="connsiteY72" fmla="*/ 64294 h 909637"/>
              <a:gd name="connsiteX73" fmla="*/ 761658 w 1052724"/>
              <a:gd name="connsiteY73" fmla="*/ 71437 h 909637"/>
              <a:gd name="connsiteX74" fmla="*/ 761658 w 1052724"/>
              <a:gd name="connsiteY74" fmla="*/ 123825 h 909637"/>
              <a:gd name="connsiteX75" fmla="*/ 756895 w 1052724"/>
              <a:gd name="connsiteY75" fmla="*/ 133350 h 909637"/>
              <a:gd name="connsiteX76" fmla="*/ 754514 w 1052724"/>
              <a:gd name="connsiteY76" fmla="*/ 140494 h 909637"/>
              <a:gd name="connsiteX77" fmla="*/ 761658 w 1052724"/>
              <a:gd name="connsiteY77" fmla="*/ 161925 h 909637"/>
              <a:gd name="connsiteX78" fmla="*/ 768802 w 1052724"/>
              <a:gd name="connsiteY78" fmla="*/ 169069 h 909637"/>
              <a:gd name="connsiteX79" fmla="*/ 775945 w 1052724"/>
              <a:gd name="connsiteY79" fmla="*/ 178594 h 909637"/>
              <a:gd name="connsiteX80" fmla="*/ 780708 w 1052724"/>
              <a:gd name="connsiteY80" fmla="*/ 195262 h 909637"/>
              <a:gd name="connsiteX81" fmla="*/ 783089 w 1052724"/>
              <a:gd name="connsiteY81" fmla="*/ 216694 h 909637"/>
              <a:gd name="connsiteX82" fmla="*/ 785470 w 1052724"/>
              <a:gd name="connsiteY82" fmla="*/ 226219 h 909637"/>
              <a:gd name="connsiteX83" fmla="*/ 792614 w 1052724"/>
              <a:gd name="connsiteY83" fmla="*/ 228600 h 909637"/>
              <a:gd name="connsiteX84" fmla="*/ 806902 w 1052724"/>
              <a:gd name="connsiteY84" fmla="*/ 238125 h 909637"/>
              <a:gd name="connsiteX85" fmla="*/ 814045 w 1052724"/>
              <a:gd name="connsiteY85" fmla="*/ 245269 h 909637"/>
              <a:gd name="connsiteX86" fmla="*/ 823570 w 1052724"/>
              <a:gd name="connsiteY86" fmla="*/ 250031 h 909637"/>
              <a:gd name="connsiteX87" fmla="*/ 830714 w 1052724"/>
              <a:gd name="connsiteY87" fmla="*/ 261937 h 909637"/>
              <a:gd name="connsiteX88" fmla="*/ 837858 w 1052724"/>
              <a:gd name="connsiteY88" fmla="*/ 264319 h 909637"/>
              <a:gd name="connsiteX89" fmla="*/ 845002 w 1052724"/>
              <a:gd name="connsiteY89" fmla="*/ 273844 h 909637"/>
              <a:gd name="connsiteX90" fmla="*/ 849764 w 1052724"/>
              <a:gd name="connsiteY90" fmla="*/ 280987 h 909637"/>
              <a:gd name="connsiteX91" fmla="*/ 856908 w 1052724"/>
              <a:gd name="connsiteY91" fmla="*/ 283369 h 909637"/>
              <a:gd name="connsiteX92" fmla="*/ 854527 w 1052724"/>
              <a:gd name="connsiteY92" fmla="*/ 345281 h 909637"/>
              <a:gd name="connsiteX93" fmla="*/ 852145 w 1052724"/>
              <a:gd name="connsiteY93" fmla="*/ 357187 h 909637"/>
              <a:gd name="connsiteX94" fmla="*/ 847383 w 1052724"/>
              <a:gd name="connsiteY94" fmla="*/ 364331 h 909637"/>
              <a:gd name="connsiteX95" fmla="*/ 845002 w 1052724"/>
              <a:gd name="connsiteY95" fmla="*/ 371475 h 909637"/>
              <a:gd name="connsiteX96" fmla="*/ 847383 w 1052724"/>
              <a:gd name="connsiteY96" fmla="*/ 388144 h 909637"/>
              <a:gd name="connsiteX97" fmla="*/ 849764 w 1052724"/>
              <a:gd name="connsiteY97" fmla="*/ 395287 h 909637"/>
              <a:gd name="connsiteX98" fmla="*/ 856908 w 1052724"/>
              <a:gd name="connsiteY98" fmla="*/ 400050 h 909637"/>
              <a:gd name="connsiteX99" fmla="*/ 859289 w 1052724"/>
              <a:gd name="connsiteY99" fmla="*/ 407194 h 909637"/>
              <a:gd name="connsiteX100" fmla="*/ 875958 w 1052724"/>
              <a:gd name="connsiteY100" fmla="*/ 402431 h 909637"/>
              <a:gd name="connsiteX101" fmla="*/ 902152 w 1052724"/>
              <a:gd name="connsiteY101" fmla="*/ 407194 h 909637"/>
              <a:gd name="connsiteX102" fmla="*/ 906914 w 1052724"/>
              <a:gd name="connsiteY102" fmla="*/ 400050 h 909637"/>
              <a:gd name="connsiteX103" fmla="*/ 911677 w 1052724"/>
              <a:gd name="connsiteY103" fmla="*/ 385762 h 909637"/>
              <a:gd name="connsiteX104" fmla="*/ 921202 w 1052724"/>
              <a:gd name="connsiteY104" fmla="*/ 388144 h 909637"/>
              <a:gd name="connsiteX105" fmla="*/ 928345 w 1052724"/>
              <a:gd name="connsiteY105" fmla="*/ 385762 h 909637"/>
              <a:gd name="connsiteX106" fmla="*/ 930727 w 1052724"/>
              <a:gd name="connsiteY106" fmla="*/ 392906 h 909637"/>
              <a:gd name="connsiteX107" fmla="*/ 935489 w 1052724"/>
              <a:gd name="connsiteY107" fmla="*/ 400050 h 909637"/>
              <a:gd name="connsiteX108" fmla="*/ 937870 w 1052724"/>
              <a:gd name="connsiteY108" fmla="*/ 409575 h 909637"/>
              <a:gd name="connsiteX109" fmla="*/ 952158 w 1052724"/>
              <a:gd name="connsiteY109" fmla="*/ 421481 h 909637"/>
              <a:gd name="connsiteX110" fmla="*/ 964064 w 1052724"/>
              <a:gd name="connsiteY110" fmla="*/ 438150 h 909637"/>
              <a:gd name="connsiteX111" fmla="*/ 971208 w 1052724"/>
              <a:gd name="connsiteY111" fmla="*/ 442912 h 909637"/>
              <a:gd name="connsiteX112" fmla="*/ 978352 w 1052724"/>
              <a:gd name="connsiteY112" fmla="*/ 450056 h 909637"/>
              <a:gd name="connsiteX113" fmla="*/ 980733 w 1052724"/>
              <a:gd name="connsiteY113" fmla="*/ 457200 h 909637"/>
              <a:gd name="connsiteX114" fmla="*/ 987877 w 1052724"/>
              <a:gd name="connsiteY114" fmla="*/ 471487 h 909637"/>
              <a:gd name="connsiteX115" fmla="*/ 995020 w 1052724"/>
              <a:gd name="connsiteY115" fmla="*/ 495300 h 909637"/>
              <a:gd name="connsiteX116" fmla="*/ 1002164 w 1052724"/>
              <a:gd name="connsiteY116" fmla="*/ 500062 h 909637"/>
              <a:gd name="connsiteX117" fmla="*/ 1025977 w 1052724"/>
              <a:gd name="connsiteY117" fmla="*/ 516731 h 909637"/>
              <a:gd name="connsiteX118" fmla="*/ 1030739 w 1052724"/>
              <a:gd name="connsiteY118" fmla="*/ 538162 h 909637"/>
              <a:gd name="connsiteX119" fmla="*/ 1035502 w 1052724"/>
              <a:gd name="connsiteY119" fmla="*/ 545306 h 909637"/>
              <a:gd name="connsiteX120" fmla="*/ 1049789 w 1052724"/>
              <a:gd name="connsiteY120" fmla="*/ 559594 h 909637"/>
              <a:gd name="connsiteX121" fmla="*/ 1047408 w 1052724"/>
              <a:gd name="connsiteY121" fmla="*/ 588169 h 909637"/>
              <a:gd name="connsiteX122" fmla="*/ 1042645 w 1052724"/>
              <a:gd name="connsiteY122" fmla="*/ 595312 h 909637"/>
              <a:gd name="connsiteX123" fmla="*/ 1035502 w 1052724"/>
              <a:gd name="connsiteY123" fmla="*/ 597694 h 909637"/>
              <a:gd name="connsiteX124" fmla="*/ 1030739 w 1052724"/>
              <a:gd name="connsiteY124" fmla="*/ 611981 h 909637"/>
              <a:gd name="connsiteX125" fmla="*/ 1023595 w 1052724"/>
              <a:gd name="connsiteY125" fmla="*/ 621506 h 909637"/>
              <a:gd name="connsiteX126" fmla="*/ 1018833 w 1052724"/>
              <a:gd name="connsiteY126" fmla="*/ 631031 h 909637"/>
              <a:gd name="connsiteX127" fmla="*/ 1014070 w 1052724"/>
              <a:gd name="connsiteY127" fmla="*/ 666750 h 909637"/>
              <a:gd name="connsiteX128" fmla="*/ 1018833 w 1052724"/>
              <a:gd name="connsiteY128" fmla="*/ 685800 h 909637"/>
              <a:gd name="connsiteX129" fmla="*/ 1014070 w 1052724"/>
              <a:gd name="connsiteY129" fmla="*/ 738187 h 909637"/>
              <a:gd name="connsiteX130" fmla="*/ 1009308 w 1052724"/>
              <a:gd name="connsiteY130" fmla="*/ 752475 h 909637"/>
              <a:gd name="connsiteX131" fmla="*/ 1011689 w 1052724"/>
              <a:gd name="connsiteY131" fmla="*/ 802481 h 909637"/>
              <a:gd name="connsiteX132" fmla="*/ 1016452 w 1052724"/>
              <a:gd name="connsiteY132" fmla="*/ 809625 h 909637"/>
              <a:gd name="connsiteX133" fmla="*/ 1014070 w 1052724"/>
              <a:gd name="connsiteY133" fmla="*/ 816769 h 909637"/>
              <a:gd name="connsiteX134" fmla="*/ 1004545 w 1052724"/>
              <a:gd name="connsiteY134" fmla="*/ 833437 h 909637"/>
              <a:gd name="connsiteX135" fmla="*/ 997402 w 1052724"/>
              <a:gd name="connsiteY135" fmla="*/ 835819 h 909637"/>
              <a:gd name="connsiteX136" fmla="*/ 973589 w 1052724"/>
              <a:gd name="connsiteY136" fmla="*/ 838200 h 909637"/>
              <a:gd name="connsiteX137" fmla="*/ 966445 w 1052724"/>
              <a:gd name="connsiteY137" fmla="*/ 840581 h 909637"/>
              <a:gd name="connsiteX138" fmla="*/ 956920 w 1052724"/>
              <a:gd name="connsiteY138" fmla="*/ 842962 h 909637"/>
              <a:gd name="connsiteX139" fmla="*/ 945014 w 1052724"/>
              <a:gd name="connsiteY139" fmla="*/ 850106 h 909637"/>
              <a:gd name="connsiteX140" fmla="*/ 930727 w 1052724"/>
              <a:gd name="connsiteY140" fmla="*/ 859631 h 909637"/>
              <a:gd name="connsiteX141" fmla="*/ 925964 w 1052724"/>
              <a:gd name="connsiteY141" fmla="*/ 873919 h 909637"/>
              <a:gd name="connsiteX142" fmla="*/ 921202 w 1052724"/>
              <a:gd name="connsiteY142" fmla="*/ 888206 h 909637"/>
              <a:gd name="connsiteX143" fmla="*/ 914058 w 1052724"/>
              <a:gd name="connsiteY143" fmla="*/ 892969 h 909637"/>
              <a:gd name="connsiteX144" fmla="*/ 909295 w 1052724"/>
              <a:gd name="connsiteY144" fmla="*/ 900112 h 909637"/>
              <a:gd name="connsiteX145" fmla="*/ 902152 w 1052724"/>
              <a:gd name="connsiteY145" fmla="*/ 902494 h 909637"/>
              <a:gd name="connsiteX146" fmla="*/ 887864 w 1052724"/>
              <a:gd name="connsiteY146" fmla="*/ 909637 h 909637"/>
              <a:gd name="connsiteX147" fmla="*/ 845002 w 1052724"/>
              <a:gd name="connsiteY147" fmla="*/ 907256 h 909637"/>
              <a:gd name="connsiteX148" fmla="*/ 835477 w 1052724"/>
              <a:gd name="connsiteY148" fmla="*/ 904875 h 909637"/>
              <a:gd name="connsiteX149" fmla="*/ 773564 w 1052724"/>
              <a:gd name="connsiteY149" fmla="*/ 902494 h 909637"/>
              <a:gd name="connsiteX150" fmla="*/ 752133 w 1052724"/>
              <a:gd name="connsiteY150" fmla="*/ 897731 h 909637"/>
              <a:gd name="connsiteX151" fmla="*/ 740227 w 1052724"/>
              <a:gd name="connsiteY151" fmla="*/ 895350 h 909637"/>
              <a:gd name="connsiteX152" fmla="*/ 704508 w 1052724"/>
              <a:gd name="connsiteY152" fmla="*/ 892969 h 909637"/>
              <a:gd name="connsiteX153" fmla="*/ 697364 w 1052724"/>
              <a:gd name="connsiteY153" fmla="*/ 888206 h 909637"/>
              <a:gd name="connsiteX154" fmla="*/ 690220 w 1052724"/>
              <a:gd name="connsiteY154" fmla="*/ 873919 h 909637"/>
              <a:gd name="connsiteX155" fmla="*/ 685458 w 1052724"/>
              <a:gd name="connsiteY155" fmla="*/ 864394 h 909637"/>
              <a:gd name="connsiteX156" fmla="*/ 675933 w 1052724"/>
              <a:gd name="connsiteY156" fmla="*/ 847725 h 909637"/>
              <a:gd name="connsiteX157" fmla="*/ 671170 w 1052724"/>
              <a:gd name="connsiteY157" fmla="*/ 831056 h 909637"/>
              <a:gd name="connsiteX158" fmla="*/ 673552 w 1052724"/>
              <a:gd name="connsiteY158" fmla="*/ 814387 h 909637"/>
              <a:gd name="connsiteX159" fmla="*/ 678314 w 1052724"/>
              <a:gd name="connsiteY159" fmla="*/ 802481 h 909637"/>
              <a:gd name="connsiteX160" fmla="*/ 680695 w 1052724"/>
              <a:gd name="connsiteY160" fmla="*/ 778669 h 909637"/>
              <a:gd name="connsiteX161" fmla="*/ 714033 w 1052724"/>
              <a:gd name="connsiteY161" fmla="*/ 776287 h 909637"/>
              <a:gd name="connsiteX162" fmla="*/ 714033 w 1052724"/>
              <a:gd name="connsiteY162" fmla="*/ 692944 h 909637"/>
              <a:gd name="connsiteX163" fmla="*/ 711652 w 1052724"/>
              <a:gd name="connsiteY163" fmla="*/ 626269 h 909637"/>
              <a:gd name="connsiteX164" fmla="*/ 714033 w 1052724"/>
              <a:gd name="connsiteY164" fmla="*/ 590550 h 909637"/>
              <a:gd name="connsiteX165" fmla="*/ 716414 w 1052724"/>
              <a:gd name="connsiteY165" fmla="*/ 581025 h 909637"/>
              <a:gd name="connsiteX166" fmla="*/ 725939 w 1052724"/>
              <a:gd name="connsiteY166" fmla="*/ 573881 h 909637"/>
              <a:gd name="connsiteX167" fmla="*/ 737845 w 1052724"/>
              <a:gd name="connsiteY167" fmla="*/ 559594 h 909637"/>
              <a:gd name="connsiteX168" fmla="*/ 744989 w 1052724"/>
              <a:gd name="connsiteY168" fmla="*/ 557212 h 909637"/>
              <a:gd name="connsiteX169" fmla="*/ 747370 w 1052724"/>
              <a:gd name="connsiteY169" fmla="*/ 550069 h 909637"/>
              <a:gd name="connsiteX170" fmla="*/ 761658 w 1052724"/>
              <a:gd name="connsiteY170" fmla="*/ 540544 h 909637"/>
              <a:gd name="connsiteX171" fmla="*/ 764039 w 1052724"/>
              <a:gd name="connsiteY171" fmla="*/ 533400 h 909637"/>
              <a:gd name="connsiteX172" fmla="*/ 768802 w 1052724"/>
              <a:gd name="connsiteY172" fmla="*/ 526256 h 909637"/>
              <a:gd name="connsiteX173" fmla="*/ 775945 w 1052724"/>
              <a:gd name="connsiteY173" fmla="*/ 509587 h 909637"/>
              <a:gd name="connsiteX174" fmla="*/ 785470 w 1052724"/>
              <a:gd name="connsiteY174" fmla="*/ 483394 h 909637"/>
              <a:gd name="connsiteX175" fmla="*/ 792614 w 1052724"/>
              <a:gd name="connsiteY175" fmla="*/ 478631 h 909637"/>
              <a:gd name="connsiteX176" fmla="*/ 804520 w 1052724"/>
              <a:gd name="connsiteY176" fmla="*/ 461962 h 909637"/>
              <a:gd name="connsiteX177" fmla="*/ 811664 w 1052724"/>
              <a:gd name="connsiteY177" fmla="*/ 457200 h 909637"/>
              <a:gd name="connsiteX178" fmla="*/ 814045 w 1052724"/>
              <a:gd name="connsiteY178" fmla="*/ 450056 h 909637"/>
              <a:gd name="connsiteX179" fmla="*/ 818808 w 1052724"/>
              <a:gd name="connsiteY179" fmla="*/ 442912 h 909637"/>
              <a:gd name="connsiteX180" fmla="*/ 821189 w 1052724"/>
              <a:gd name="connsiteY180" fmla="*/ 433387 h 909637"/>
              <a:gd name="connsiteX181" fmla="*/ 823570 w 1052724"/>
              <a:gd name="connsiteY181" fmla="*/ 426244 h 909637"/>
              <a:gd name="connsiteX182" fmla="*/ 821189 w 1052724"/>
              <a:gd name="connsiteY182" fmla="*/ 400050 h 909637"/>
              <a:gd name="connsiteX183" fmla="*/ 814045 w 1052724"/>
              <a:gd name="connsiteY183" fmla="*/ 397669 h 909637"/>
              <a:gd name="connsiteX184" fmla="*/ 802139 w 1052724"/>
              <a:gd name="connsiteY184" fmla="*/ 395287 h 909637"/>
              <a:gd name="connsiteX185" fmla="*/ 787852 w 1052724"/>
              <a:gd name="connsiteY185" fmla="*/ 381000 h 909637"/>
              <a:gd name="connsiteX186" fmla="*/ 783089 w 1052724"/>
              <a:gd name="connsiteY186" fmla="*/ 364331 h 909637"/>
              <a:gd name="connsiteX187" fmla="*/ 778327 w 1052724"/>
              <a:gd name="connsiteY187" fmla="*/ 357187 h 909637"/>
              <a:gd name="connsiteX188" fmla="*/ 754514 w 1052724"/>
              <a:gd name="connsiteY188" fmla="*/ 352425 h 909637"/>
              <a:gd name="connsiteX189" fmla="*/ 740227 w 1052724"/>
              <a:gd name="connsiteY189" fmla="*/ 345281 h 909637"/>
              <a:gd name="connsiteX190" fmla="*/ 697364 w 1052724"/>
              <a:gd name="connsiteY190" fmla="*/ 345281 h 909637"/>
              <a:gd name="connsiteX191" fmla="*/ 694983 w 1052724"/>
              <a:gd name="connsiteY191" fmla="*/ 352425 h 909637"/>
              <a:gd name="connsiteX192" fmla="*/ 642595 w 1052724"/>
              <a:gd name="connsiteY192" fmla="*/ 354806 h 909637"/>
              <a:gd name="connsiteX193" fmla="*/ 599733 w 1052724"/>
              <a:gd name="connsiteY193" fmla="*/ 354806 h 909637"/>
              <a:gd name="connsiteX194" fmla="*/ 559252 w 1052724"/>
              <a:gd name="connsiteY194" fmla="*/ 359569 h 909637"/>
              <a:gd name="connsiteX195" fmla="*/ 547345 w 1052724"/>
              <a:gd name="connsiteY195" fmla="*/ 371475 h 909637"/>
              <a:gd name="connsiteX196" fmla="*/ 540202 w 1052724"/>
              <a:gd name="connsiteY196" fmla="*/ 378619 h 909637"/>
              <a:gd name="connsiteX197" fmla="*/ 466383 w 1052724"/>
              <a:gd name="connsiteY197" fmla="*/ 385762 h 909637"/>
              <a:gd name="connsiteX198" fmla="*/ 449714 w 1052724"/>
              <a:gd name="connsiteY198" fmla="*/ 392906 h 909637"/>
              <a:gd name="connsiteX199" fmla="*/ 442570 w 1052724"/>
              <a:gd name="connsiteY199" fmla="*/ 397669 h 909637"/>
              <a:gd name="connsiteX200" fmla="*/ 433045 w 1052724"/>
              <a:gd name="connsiteY200" fmla="*/ 400050 h 909637"/>
              <a:gd name="connsiteX201" fmla="*/ 428283 w 1052724"/>
              <a:gd name="connsiteY201" fmla="*/ 409575 h 909637"/>
              <a:gd name="connsiteX202" fmla="*/ 413995 w 1052724"/>
              <a:gd name="connsiteY202" fmla="*/ 416719 h 909637"/>
              <a:gd name="connsiteX203" fmla="*/ 406852 w 1052724"/>
              <a:gd name="connsiteY203" fmla="*/ 426244 h 909637"/>
              <a:gd name="connsiteX204" fmla="*/ 392564 w 1052724"/>
              <a:gd name="connsiteY204" fmla="*/ 431006 h 909637"/>
              <a:gd name="connsiteX205" fmla="*/ 383039 w 1052724"/>
              <a:gd name="connsiteY205" fmla="*/ 435769 h 909637"/>
              <a:gd name="connsiteX206" fmla="*/ 385420 w 1052724"/>
              <a:gd name="connsiteY206" fmla="*/ 457200 h 909637"/>
              <a:gd name="connsiteX207" fmla="*/ 387802 w 1052724"/>
              <a:gd name="connsiteY207" fmla="*/ 464344 h 909637"/>
              <a:gd name="connsiteX208" fmla="*/ 380658 w 1052724"/>
              <a:gd name="connsiteY208" fmla="*/ 485775 h 909637"/>
              <a:gd name="connsiteX209" fmla="*/ 378277 w 1052724"/>
              <a:gd name="connsiteY209" fmla="*/ 511969 h 909637"/>
              <a:gd name="connsiteX210" fmla="*/ 363989 w 1052724"/>
              <a:gd name="connsiteY210" fmla="*/ 521494 h 909637"/>
              <a:gd name="connsiteX211" fmla="*/ 359227 w 1052724"/>
              <a:gd name="connsiteY211" fmla="*/ 528637 h 909637"/>
              <a:gd name="connsiteX212" fmla="*/ 356845 w 1052724"/>
              <a:gd name="connsiteY212" fmla="*/ 535781 h 909637"/>
              <a:gd name="connsiteX213" fmla="*/ 354464 w 1052724"/>
              <a:gd name="connsiteY213" fmla="*/ 604837 h 909637"/>
              <a:gd name="connsiteX214" fmla="*/ 352083 w 1052724"/>
              <a:gd name="connsiteY214" fmla="*/ 616744 h 909637"/>
              <a:gd name="connsiteX215" fmla="*/ 337795 w 1052724"/>
              <a:gd name="connsiteY215" fmla="*/ 621506 h 909637"/>
              <a:gd name="connsiteX216" fmla="*/ 330652 w 1052724"/>
              <a:gd name="connsiteY216" fmla="*/ 628650 h 909637"/>
              <a:gd name="connsiteX217" fmla="*/ 323508 w 1052724"/>
              <a:gd name="connsiteY217" fmla="*/ 633412 h 909637"/>
              <a:gd name="connsiteX218" fmla="*/ 321127 w 1052724"/>
              <a:gd name="connsiteY218" fmla="*/ 657225 h 909637"/>
              <a:gd name="connsiteX219" fmla="*/ 313983 w 1052724"/>
              <a:gd name="connsiteY219" fmla="*/ 678656 h 909637"/>
              <a:gd name="connsiteX220" fmla="*/ 311602 w 1052724"/>
              <a:gd name="connsiteY220" fmla="*/ 702469 h 909637"/>
              <a:gd name="connsiteX221" fmla="*/ 304458 w 1052724"/>
              <a:gd name="connsiteY221" fmla="*/ 704850 h 909637"/>
              <a:gd name="connsiteX222" fmla="*/ 302077 w 1052724"/>
              <a:gd name="connsiteY222" fmla="*/ 711994 h 909637"/>
              <a:gd name="connsiteX223" fmla="*/ 292552 w 1052724"/>
              <a:gd name="connsiteY223" fmla="*/ 714375 h 909637"/>
              <a:gd name="connsiteX224" fmla="*/ 275883 w 1052724"/>
              <a:gd name="connsiteY224" fmla="*/ 716756 h 909637"/>
              <a:gd name="connsiteX225" fmla="*/ 254452 w 1052724"/>
              <a:gd name="connsiteY225" fmla="*/ 723900 h 909637"/>
              <a:gd name="connsiteX226" fmla="*/ 247308 w 1052724"/>
              <a:gd name="connsiteY226" fmla="*/ 728662 h 909637"/>
              <a:gd name="connsiteX227" fmla="*/ 235402 w 1052724"/>
              <a:gd name="connsiteY227" fmla="*/ 740569 h 909637"/>
              <a:gd name="connsiteX228" fmla="*/ 223495 w 1052724"/>
              <a:gd name="connsiteY228" fmla="*/ 754856 h 909637"/>
              <a:gd name="connsiteX229" fmla="*/ 213970 w 1052724"/>
              <a:gd name="connsiteY229" fmla="*/ 759619 h 909637"/>
              <a:gd name="connsiteX230" fmla="*/ 197302 w 1052724"/>
              <a:gd name="connsiteY230" fmla="*/ 766762 h 909637"/>
              <a:gd name="connsiteX231" fmla="*/ 194920 w 1052724"/>
              <a:gd name="connsiteY231" fmla="*/ 773906 h 909637"/>
              <a:gd name="connsiteX232" fmla="*/ 180633 w 1052724"/>
              <a:gd name="connsiteY232" fmla="*/ 776287 h 909637"/>
              <a:gd name="connsiteX233" fmla="*/ 137770 w 1052724"/>
              <a:gd name="connsiteY233" fmla="*/ 781050 h 909637"/>
              <a:gd name="connsiteX234" fmla="*/ 113958 w 1052724"/>
              <a:gd name="connsiteY234" fmla="*/ 783431 h 909637"/>
              <a:gd name="connsiteX235" fmla="*/ 121102 w 1052724"/>
              <a:gd name="connsiteY235" fmla="*/ 762000 h 909637"/>
              <a:gd name="connsiteX236" fmla="*/ 135389 w 1052724"/>
              <a:gd name="connsiteY236" fmla="*/ 752475 h 909637"/>
              <a:gd name="connsiteX237" fmla="*/ 142533 w 1052724"/>
              <a:gd name="connsiteY237" fmla="*/ 735806 h 909637"/>
              <a:gd name="connsiteX238" fmla="*/ 149677 w 1052724"/>
              <a:gd name="connsiteY238" fmla="*/ 733425 h 909637"/>
              <a:gd name="connsiteX239" fmla="*/ 147295 w 1052724"/>
              <a:gd name="connsiteY239" fmla="*/ 726281 h 909637"/>
              <a:gd name="connsiteX240" fmla="*/ 144914 w 1052724"/>
              <a:gd name="connsiteY240" fmla="*/ 716756 h 909637"/>
              <a:gd name="connsiteX241" fmla="*/ 135389 w 1052724"/>
              <a:gd name="connsiteY241" fmla="*/ 714375 h 909637"/>
              <a:gd name="connsiteX242" fmla="*/ 121102 w 1052724"/>
              <a:gd name="connsiteY242" fmla="*/ 716756 h 909637"/>
              <a:gd name="connsiteX243" fmla="*/ 118720 w 1052724"/>
              <a:gd name="connsiteY243" fmla="*/ 723900 h 909637"/>
              <a:gd name="connsiteX244" fmla="*/ 113958 w 1052724"/>
              <a:gd name="connsiteY244" fmla="*/ 754856 h 909637"/>
              <a:gd name="connsiteX245" fmla="*/ 97289 w 1052724"/>
              <a:gd name="connsiteY245" fmla="*/ 766762 h 909637"/>
              <a:gd name="connsiteX246" fmla="*/ 80620 w 1052724"/>
              <a:gd name="connsiteY246" fmla="*/ 771525 h 909637"/>
              <a:gd name="connsiteX247" fmla="*/ 66333 w 1052724"/>
              <a:gd name="connsiteY247" fmla="*/ 783431 h 909637"/>
              <a:gd name="connsiteX248" fmla="*/ 59189 w 1052724"/>
              <a:gd name="connsiteY248" fmla="*/ 788194 h 909637"/>
              <a:gd name="connsiteX249" fmla="*/ 2039 w 1052724"/>
              <a:gd name="connsiteY249" fmla="*/ 785812 h 909637"/>
              <a:gd name="connsiteX250" fmla="*/ 4420 w 1052724"/>
              <a:gd name="connsiteY250" fmla="*/ 769144 h 909637"/>
              <a:gd name="connsiteX251" fmla="*/ 13945 w 1052724"/>
              <a:gd name="connsiteY251" fmla="*/ 754856 h 909637"/>
              <a:gd name="connsiteX252" fmla="*/ 18708 w 1052724"/>
              <a:gd name="connsiteY252" fmla="*/ 745331 h 909637"/>
              <a:gd name="connsiteX253" fmla="*/ 21089 w 1052724"/>
              <a:gd name="connsiteY253" fmla="*/ 716756 h 909637"/>
              <a:gd name="connsiteX254" fmla="*/ 23470 w 1052724"/>
              <a:gd name="connsiteY254" fmla="*/ 709612 h 909637"/>
              <a:gd name="connsiteX255" fmla="*/ 30614 w 1052724"/>
              <a:gd name="connsiteY255" fmla="*/ 707231 h 909637"/>
              <a:gd name="connsiteX256" fmla="*/ 42520 w 1052724"/>
              <a:gd name="connsiteY256" fmla="*/ 685800 h 909637"/>
              <a:gd name="connsiteX257" fmla="*/ 54427 w 1052724"/>
              <a:gd name="connsiteY257" fmla="*/ 671512 h 909637"/>
              <a:gd name="connsiteX258" fmla="*/ 63952 w 1052724"/>
              <a:gd name="connsiteY258" fmla="*/ 666750 h 909637"/>
              <a:gd name="connsiteX259" fmla="*/ 71095 w 1052724"/>
              <a:gd name="connsiteY259" fmla="*/ 661987 h 909637"/>
              <a:gd name="connsiteX260" fmla="*/ 75858 w 1052724"/>
              <a:gd name="connsiteY260" fmla="*/ 654844 h 909637"/>
              <a:gd name="connsiteX261" fmla="*/ 83002 w 1052724"/>
              <a:gd name="connsiteY261" fmla="*/ 638175 h 909637"/>
              <a:gd name="connsiteX262" fmla="*/ 75858 w 1052724"/>
              <a:gd name="connsiteY262" fmla="*/ 633412 h 909637"/>
              <a:gd name="connsiteX263" fmla="*/ 54427 w 1052724"/>
              <a:gd name="connsiteY263" fmla="*/ 628650 h 909637"/>
              <a:gd name="connsiteX264" fmla="*/ 56808 w 1052724"/>
              <a:gd name="connsiteY264" fmla="*/ 621506 h 909637"/>
              <a:gd name="connsiteX265" fmla="*/ 61570 w 1052724"/>
              <a:gd name="connsiteY265" fmla="*/ 611981 h 909637"/>
              <a:gd name="connsiteX266" fmla="*/ 75858 w 1052724"/>
              <a:gd name="connsiteY266" fmla="*/ 602456 h 909637"/>
              <a:gd name="connsiteX267" fmla="*/ 85383 w 1052724"/>
              <a:gd name="connsiteY267" fmla="*/ 590550 h 909637"/>
              <a:gd name="connsiteX268" fmla="*/ 87764 w 1052724"/>
              <a:gd name="connsiteY268" fmla="*/ 583406 h 909637"/>
              <a:gd name="connsiteX269" fmla="*/ 102052 w 1052724"/>
              <a:gd name="connsiteY269" fmla="*/ 592931 h 909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</a:cxnLst>
            <a:rect l="l" t="t" r="r" b="b"/>
            <a:pathLst>
              <a:path w="1052724" h="909637">
                <a:moveTo>
                  <a:pt x="102052" y="592931"/>
                </a:moveTo>
                <a:lnTo>
                  <a:pt x="102052" y="592931"/>
                </a:lnTo>
                <a:cubicBezTo>
                  <a:pt x="98877" y="586581"/>
                  <a:pt x="95465" y="580344"/>
                  <a:pt x="92527" y="573881"/>
                </a:cubicBezTo>
                <a:cubicBezTo>
                  <a:pt x="85486" y="558391"/>
                  <a:pt x="95817" y="575245"/>
                  <a:pt x="85383" y="559594"/>
                </a:cubicBezTo>
                <a:cubicBezTo>
                  <a:pt x="84589" y="557213"/>
                  <a:pt x="83002" y="554960"/>
                  <a:pt x="83002" y="552450"/>
                </a:cubicBezTo>
                <a:cubicBezTo>
                  <a:pt x="83002" y="549460"/>
                  <a:pt x="86641" y="539150"/>
                  <a:pt x="87764" y="535781"/>
                </a:cubicBezTo>
                <a:cubicBezTo>
                  <a:pt x="86970" y="529431"/>
                  <a:pt x="87760" y="522673"/>
                  <a:pt x="85383" y="516731"/>
                </a:cubicBezTo>
                <a:cubicBezTo>
                  <a:pt x="84320" y="514074"/>
                  <a:pt x="80027" y="514204"/>
                  <a:pt x="78239" y="511969"/>
                </a:cubicBezTo>
                <a:cubicBezTo>
                  <a:pt x="76671" y="510009"/>
                  <a:pt x="77077" y="507019"/>
                  <a:pt x="75858" y="504825"/>
                </a:cubicBezTo>
                <a:cubicBezTo>
                  <a:pt x="67687" y="490116"/>
                  <a:pt x="69625" y="492731"/>
                  <a:pt x="59189" y="485775"/>
                </a:cubicBezTo>
                <a:cubicBezTo>
                  <a:pt x="54064" y="470398"/>
                  <a:pt x="54438" y="474599"/>
                  <a:pt x="59189" y="447675"/>
                </a:cubicBezTo>
                <a:cubicBezTo>
                  <a:pt x="59806" y="444179"/>
                  <a:pt x="62554" y="441413"/>
                  <a:pt x="63952" y="438150"/>
                </a:cubicBezTo>
                <a:cubicBezTo>
                  <a:pt x="64941" y="435843"/>
                  <a:pt x="65539" y="433387"/>
                  <a:pt x="66333" y="431006"/>
                </a:cubicBezTo>
                <a:cubicBezTo>
                  <a:pt x="64745" y="407194"/>
                  <a:pt x="63731" y="383336"/>
                  <a:pt x="61570" y="359569"/>
                </a:cubicBezTo>
                <a:cubicBezTo>
                  <a:pt x="58979" y="331064"/>
                  <a:pt x="46373" y="402518"/>
                  <a:pt x="61570" y="321469"/>
                </a:cubicBezTo>
                <a:cubicBezTo>
                  <a:pt x="62097" y="318656"/>
                  <a:pt x="64745" y="316706"/>
                  <a:pt x="66333" y="314325"/>
                </a:cubicBezTo>
                <a:cubicBezTo>
                  <a:pt x="67127" y="311150"/>
                  <a:pt x="67425" y="307808"/>
                  <a:pt x="68714" y="304800"/>
                </a:cubicBezTo>
                <a:cubicBezTo>
                  <a:pt x="71905" y="297353"/>
                  <a:pt x="76420" y="295214"/>
                  <a:pt x="83002" y="290512"/>
                </a:cubicBezTo>
                <a:cubicBezTo>
                  <a:pt x="85331" y="288849"/>
                  <a:pt x="87660" y="287170"/>
                  <a:pt x="90145" y="285750"/>
                </a:cubicBezTo>
                <a:cubicBezTo>
                  <a:pt x="93227" y="283989"/>
                  <a:pt x="96211" y="281785"/>
                  <a:pt x="99670" y="280987"/>
                </a:cubicBezTo>
                <a:cubicBezTo>
                  <a:pt x="106674" y="279371"/>
                  <a:pt x="113958" y="279400"/>
                  <a:pt x="121102" y="278606"/>
                </a:cubicBezTo>
                <a:cubicBezTo>
                  <a:pt x="124277" y="277812"/>
                  <a:pt x="127619" y="277514"/>
                  <a:pt x="130627" y="276225"/>
                </a:cubicBezTo>
                <a:cubicBezTo>
                  <a:pt x="133257" y="275098"/>
                  <a:pt x="135055" y="272367"/>
                  <a:pt x="137770" y="271462"/>
                </a:cubicBezTo>
                <a:cubicBezTo>
                  <a:pt x="142351" y="269935"/>
                  <a:pt x="147295" y="269875"/>
                  <a:pt x="152058" y="269081"/>
                </a:cubicBezTo>
                <a:cubicBezTo>
                  <a:pt x="154439" y="267494"/>
                  <a:pt x="156587" y="265481"/>
                  <a:pt x="159202" y="264319"/>
                </a:cubicBezTo>
                <a:cubicBezTo>
                  <a:pt x="163789" y="262280"/>
                  <a:pt x="169312" y="262340"/>
                  <a:pt x="173489" y="259556"/>
                </a:cubicBezTo>
                <a:lnTo>
                  <a:pt x="180633" y="254794"/>
                </a:lnTo>
                <a:cubicBezTo>
                  <a:pt x="184977" y="248277"/>
                  <a:pt x="185019" y="246229"/>
                  <a:pt x="192539" y="242887"/>
                </a:cubicBezTo>
                <a:cubicBezTo>
                  <a:pt x="197127" y="240848"/>
                  <a:pt x="206827" y="238125"/>
                  <a:pt x="206827" y="238125"/>
                </a:cubicBezTo>
                <a:cubicBezTo>
                  <a:pt x="209208" y="235744"/>
                  <a:pt x="211168" y="232849"/>
                  <a:pt x="213970" y="230981"/>
                </a:cubicBezTo>
                <a:cubicBezTo>
                  <a:pt x="216059" y="229589"/>
                  <a:pt x="218700" y="229290"/>
                  <a:pt x="221114" y="228600"/>
                </a:cubicBezTo>
                <a:cubicBezTo>
                  <a:pt x="225392" y="227378"/>
                  <a:pt x="238775" y="224214"/>
                  <a:pt x="242545" y="223837"/>
                </a:cubicBezTo>
                <a:cubicBezTo>
                  <a:pt x="262354" y="221856"/>
                  <a:pt x="302077" y="219075"/>
                  <a:pt x="302077" y="219075"/>
                </a:cubicBezTo>
                <a:cubicBezTo>
                  <a:pt x="303664" y="216694"/>
                  <a:pt x="304815" y="213955"/>
                  <a:pt x="306839" y="211931"/>
                </a:cubicBezTo>
                <a:cubicBezTo>
                  <a:pt x="308863" y="209907"/>
                  <a:pt x="312151" y="209368"/>
                  <a:pt x="313983" y="207169"/>
                </a:cubicBezTo>
                <a:cubicBezTo>
                  <a:pt x="327592" y="190839"/>
                  <a:pt x="308311" y="202862"/>
                  <a:pt x="328270" y="192881"/>
                </a:cubicBezTo>
                <a:cubicBezTo>
                  <a:pt x="337071" y="179680"/>
                  <a:pt x="327997" y="190122"/>
                  <a:pt x="340177" y="183356"/>
                </a:cubicBezTo>
                <a:cubicBezTo>
                  <a:pt x="364741" y="169710"/>
                  <a:pt x="345443" y="176838"/>
                  <a:pt x="361608" y="171450"/>
                </a:cubicBezTo>
                <a:cubicBezTo>
                  <a:pt x="362781" y="169104"/>
                  <a:pt x="368327" y="157026"/>
                  <a:pt x="371133" y="154781"/>
                </a:cubicBezTo>
                <a:cubicBezTo>
                  <a:pt x="373093" y="153213"/>
                  <a:pt x="375896" y="153194"/>
                  <a:pt x="378277" y="152400"/>
                </a:cubicBezTo>
                <a:cubicBezTo>
                  <a:pt x="379635" y="148325"/>
                  <a:pt x="381464" y="140750"/>
                  <a:pt x="385420" y="138112"/>
                </a:cubicBezTo>
                <a:cubicBezTo>
                  <a:pt x="388143" y="136297"/>
                  <a:pt x="391770" y="136525"/>
                  <a:pt x="394945" y="135731"/>
                </a:cubicBezTo>
                <a:cubicBezTo>
                  <a:pt x="396533" y="133350"/>
                  <a:pt x="396943" y="129324"/>
                  <a:pt x="399708" y="128587"/>
                </a:cubicBezTo>
                <a:cubicBezTo>
                  <a:pt x="409708" y="125920"/>
                  <a:pt x="420395" y="127490"/>
                  <a:pt x="430664" y="126206"/>
                </a:cubicBezTo>
                <a:cubicBezTo>
                  <a:pt x="433155" y="125895"/>
                  <a:pt x="435427" y="124619"/>
                  <a:pt x="437808" y="123825"/>
                </a:cubicBezTo>
                <a:cubicBezTo>
                  <a:pt x="440189" y="122237"/>
                  <a:pt x="442753" y="120894"/>
                  <a:pt x="444952" y="119062"/>
                </a:cubicBezTo>
                <a:cubicBezTo>
                  <a:pt x="447539" y="116906"/>
                  <a:pt x="449355" y="113876"/>
                  <a:pt x="452095" y="111919"/>
                </a:cubicBezTo>
                <a:cubicBezTo>
                  <a:pt x="454984" y="109856"/>
                  <a:pt x="458538" y="108917"/>
                  <a:pt x="461620" y="107156"/>
                </a:cubicBezTo>
                <a:cubicBezTo>
                  <a:pt x="464105" y="105736"/>
                  <a:pt x="466383" y="103981"/>
                  <a:pt x="468764" y="102394"/>
                </a:cubicBezTo>
                <a:cubicBezTo>
                  <a:pt x="470352" y="100013"/>
                  <a:pt x="471292" y="97038"/>
                  <a:pt x="473527" y="95250"/>
                </a:cubicBezTo>
                <a:cubicBezTo>
                  <a:pt x="475487" y="93682"/>
                  <a:pt x="479211" y="94911"/>
                  <a:pt x="480670" y="92869"/>
                </a:cubicBezTo>
                <a:cubicBezTo>
                  <a:pt x="483588" y="88784"/>
                  <a:pt x="483845" y="83344"/>
                  <a:pt x="485433" y="78581"/>
                </a:cubicBezTo>
                <a:cubicBezTo>
                  <a:pt x="486338" y="75866"/>
                  <a:pt x="488608" y="73818"/>
                  <a:pt x="490195" y="71437"/>
                </a:cubicBezTo>
                <a:cubicBezTo>
                  <a:pt x="490989" y="68262"/>
                  <a:pt x="491288" y="64920"/>
                  <a:pt x="492577" y="61912"/>
                </a:cubicBezTo>
                <a:cubicBezTo>
                  <a:pt x="493704" y="59282"/>
                  <a:pt x="495919" y="57254"/>
                  <a:pt x="497339" y="54769"/>
                </a:cubicBezTo>
                <a:cubicBezTo>
                  <a:pt x="509429" y="33613"/>
                  <a:pt x="495258" y="55511"/>
                  <a:pt x="506864" y="38100"/>
                </a:cubicBezTo>
                <a:cubicBezTo>
                  <a:pt x="507658" y="34925"/>
                  <a:pt x="507201" y="31131"/>
                  <a:pt x="509245" y="28575"/>
                </a:cubicBezTo>
                <a:cubicBezTo>
                  <a:pt x="510813" y="26615"/>
                  <a:pt x="514429" y="27762"/>
                  <a:pt x="516389" y="26194"/>
                </a:cubicBezTo>
                <a:cubicBezTo>
                  <a:pt x="518624" y="24406"/>
                  <a:pt x="519564" y="21431"/>
                  <a:pt x="521152" y="19050"/>
                </a:cubicBezTo>
                <a:cubicBezTo>
                  <a:pt x="521946" y="15875"/>
                  <a:pt x="521909" y="12367"/>
                  <a:pt x="523533" y="9525"/>
                </a:cubicBezTo>
                <a:cubicBezTo>
                  <a:pt x="527730" y="2180"/>
                  <a:pt x="531001" y="2273"/>
                  <a:pt x="537820" y="0"/>
                </a:cubicBezTo>
                <a:cubicBezTo>
                  <a:pt x="558458" y="794"/>
                  <a:pt x="579190" y="256"/>
                  <a:pt x="599733" y="2381"/>
                </a:cubicBezTo>
                <a:cubicBezTo>
                  <a:pt x="602580" y="2676"/>
                  <a:pt x="604738" y="5243"/>
                  <a:pt x="606877" y="7144"/>
                </a:cubicBezTo>
                <a:cubicBezTo>
                  <a:pt x="611911" y="11618"/>
                  <a:pt x="616402" y="16669"/>
                  <a:pt x="621164" y="21431"/>
                </a:cubicBezTo>
                <a:cubicBezTo>
                  <a:pt x="623478" y="23745"/>
                  <a:pt x="627442" y="23406"/>
                  <a:pt x="630689" y="23812"/>
                </a:cubicBezTo>
                <a:cubicBezTo>
                  <a:pt x="646520" y="25791"/>
                  <a:pt x="662439" y="26987"/>
                  <a:pt x="678314" y="28575"/>
                </a:cubicBezTo>
                <a:lnTo>
                  <a:pt x="692602" y="33337"/>
                </a:lnTo>
                <a:lnTo>
                  <a:pt x="699745" y="35719"/>
                </a:lnTo>
                <a:cubicBezTo>
                  <a:pt x="700539" y="38894"/>
                  <a:pt x="700082" y="42688"/>
                  <a:pt x="702127" y="45244"/>
                </a:cubicBezTo>
                <a:cubicBezTo>
                  <a:pt x="703695" y="47204"/>
                  <a:pt x="707025" y="46503"/>
                  <a:pt x="709270" y="47625"/>
                </a:cubicBezTo>
                <a:cubicBezTo>
                  <a:pt x="711830" y="48905"/>
                  <a:pt x="713724" y="51409"/>
                  <a:pt x="716414" y="52387"/>
                </a:cubicBezTo>
                <a:cubicBezTo>
                  <a:pt x="722565" y="54624"/>
                  <a:pt x="729114" y="55562"/>
                  <a:pt x="735464" y="57150"/>
                </a:cubicBezTo>
                <a:cubicBezTo>
                  <a:pt x="746389" y="59881"/>
                  <a:pt x="750195" y="61266"/>
                  <a:pt x="759277" y="64294"/>
                </a:cubicBezTo>
                <a:cubicBezTo>
                  <a:pt x="760071" y="66675"/>
                  <a:pt x="761049" y="69002"/>
                  <a:pt x="761658" y="71437"/>
                </a:cubicBezTo>
                <a:cubicBezTo>
                  <a:pt x="766434" y="90543"/>
                  <a:pt x="765130" y="99525"/>
                  <a:pt x="761658" y="123825"/>
                </a:cubicBezTo>
                <a:cubicBezTo>
                  <a:pt x="761156" y="127339"/>
                  <a:pt x="758293" y="130087"/>
                  <a:pt x="756895" y="133350"/>
                </a:cubicBezTo>
                <a:cubicBezTo>
                  <a:pt x="755906" y="135657"/>
                  <a:pt x="755308" y="138113"/>
                  <a:pt x="754514" y="140494"/>
                </a:cubicBezTo>
                <a:lnTo>
                  <a:pt x="761658" y="161925"/>
                </a:lnTo>
                <a:cubicBezTo>
                  <a:pt x="762723" y="165120"/>
                  <a:pt x="766610" y="166512"/>
                  <a:pt x="768802" y="169069"/>
                </a:cubicBezTo>
                <a:cubicBezTo>
                  <a:pt x="771385" y="172082"/>
                  <a:pt x="773564" y="175419"/>
                  <a:pt x="775945" y="178594"/>
                </a:cubicBezTo>
                <a:cubicBezTo>
                  <a:pt x="777725" y="183933"/>
                  <a:pt x="779853" y="189703"/>
                  <a:pt x="780708" y="195262"/>
                </a:cubicBezTo>
                <a:cubicBezTo>
                  <a:pt x="781801" y="202366"/>
                  <a:pt x="781996" y="209590"/>
                  <a:pt x="783089" y="216694"/>
                </a:cubicBezTo>
                <a:cubicBezTo>
                  <a:pt x="783587" y="219929"/>
                  <a:pt x="783426" y="223663"/>
                  <a:pt x="785470" y="226219"/>
                </a:cubicBezTo>
                <a:cubicBezTo>
                  <a:pt x="787038" y="228179"/>
                  <a:pt x="790233" y="227806"/>
                  <a:pt x="792614" y="228600"/>
                </a:cubicBezTo>
                <a:cubicBezTo>
                  <a:pt x="815408" y="251394"/>
                  <a:pt x="786221" y="224337"/>
                  <a:pt x="806902" y="238125"/>
                </a:cubicBezTo>
                <a:cubicBezTo>
                  <a:pt x="809704" y="239993"/>
                  <a:pt x="811305" y="243312"/>
                  <a:pt x="814045" y="245269"/>
                </a:cubicBezTo>
                <a:cubicBezTo>
                  <a:pt x="816933" y="247332"/>
                  <a:pt x="820395" y="248444"/>
                  <a:pt x="823570" y="250031"/>
                </a:cubicBezTo>
                <a:cubicBezTo>
                  <a:pt x="825951" y="254000"/>
                  <a:pt x="827441" y="258664"/>
                  <a:pt x="830714" y="261937"/>
                </a:cubicBezTo>
                <a:cubicBezTo>
                  <a:pt x="832489" y="263712"/>
                  <a:pt x="835930" y="262712"/>
                  <a:pt x="837858" y="264319"/>
                </a:cubicBezTo>
                <a:cubicBezTo>
                  <a:pt x="840907" y="266860"/>
                  <a:pt x="842695" y="270614"/>
                  <a:pt x="845002" y="273844"/>
                </a:cubicBezTo>
                <a:cubicBezTo>
                  <a:pt x="846665" y="276173"/>
                  <a:pt x="847529" y="279199"/>
                  <a:pt x="849764" y="280987"/>
                </a:cubicBezTo>
                <a:cubicBezTo>
                  <a:pt x="851724" y="282555"/>
                  <a:pt x="854527" y="282575"/>
                  <a:pt x="856908" y="283369"/>
                </a:cubicBezTo>
                <a:cubicBezTo>
                  <a:pt x="863396" y="309323"/>
                  <a:pt x="860364" y="292750"/>
                  <a:pt x="854527" y="345281"/>
                </a:cubicBezTo>
                <a:cubicBezTo>
                  <a:pt x="854080" y="349304"/>
                  <a:pt x="853566" y="353397"/>
                  <a:pt x="852145" y="357187"/>
                </a:cubicBezTo>
                <a:cubicBezTo>
                  <a:pt x="851140" y="359867"/>
                  <a:pt x="848663" y="361771"/>
                  <a:pt x="847383" y="364331"/>
                </a:cubicBezTo>
                <a:cubicBezTo>
                  <a:pt x="846261" y="366576"/>
                  <a:pt x="845796" y="369094"/>
                  <a:pt x="845002" y="371475"/>
                </a:cubicBezTo>
                <a:cubicBezTo>
                  <a:pt x="845796" y="377031"/>
                  <a:pt x="846282" y="382640"/>
                  <a:pt x="847383" y="388144"/>
                </a:cubicBezTo>
                <a:cubicBezTo>
                  <a:pt x="847875" y="390605"/>
                  <a:pt x="848196" y="393327"/>
                  <a:pt x="849764" y="395287"/>
                </a:cubicBezTo>
                <a:cubicBezTo>
                  <a:pt x="851552" y="397522"/>
                  <a:pt x="854527" y="398462"/>
                  <a:pt x="856908" y="400050"/>
                </a:cubicBezTo>
                <a:cubicBezTo>
                  <a:pt x="857702" y="402431"/>
                  <a:pt x="856798" y="406883"/>
                  <a:pt x="859289" y="407194"/>
                </a:cubicBezTo>
                <a:cubicBezTo>
                  <a:pt x="865023" y="407911"/>
                  <a:pt x="870194" y="402843"/>
                  <a:pt x="875958" y="402431"/>
                </a:cubicBezTo>
                <a:cubicBezTo>
                  <a:pt x="882598" y="401957"/>
                  <a:pt x="894919" y="405385"/>
                  <a:pt x="902152" y="407194"/>
                </a:cubicBezTo>
                <a:cubicBezTo>
                  <a:pt x="903739" y="404813"/>
                  <a:pt x="905752" y="402665"/>
                  <a:pt x="906914" y="400050"/>
                </a:cubicBezTo>
                <a:cubicBezTo>
                  <a:pt x="908953" y="395462"/>
                  <a:pt x="911677" y="385762"/>
                  <a:pt x="911677" y="385762"/>
                </a:cubicBezTo>
                <a:cubicBezTo>
                  <a:pt x="914852" y="386556"/>
                  <a:pt x="917929" y="388144"/>
                  <a:pt x="921202" y="388144"/>
                </a:cubicBezTo>
                <a:cubicBezTo>
                  <a:pt x="923712" y="388144"/>
                  <a:pt x="926100" y="384640"/>
                  <a:pt x="928345" y="385762"/>
                </a:cubicBezTo>
                <a:cubicBezTo>
                  <a:pt x="930590" y="386885"/>
                  <a:pt x="929604" y="390661"/>
                  <a:pt x="930727" y="392906"/>
                </a:cubicBezTo>
                <a:cubicBezTo>
                  <a:pt x="932007" y="395466"/>
                  <a:pt x="933902" y="397669"/>
                  <a:pt x="935489" y="400050"/>
                </a:cubicBezTo>
                <a:cubicBezTo>
                  <a:pt x="936283" y="403225"/>
                  <a:pt x="936246" y="406733"/>
                  <a:pt x="937870" y="409575"/>
                </a:cubicBezTo>
                <a:cubicBezTo>
                  <a:pt x="940691" y="414512"/>
                  <a:pt x="947605" y="418446"/>
                  <a:pt x="952158" y="421481"/>
                </a:cubicBezTo>
                <a:cubicBezTo>
                  <a:pt x="954864" y="425540"/>
                  <a:pt x="961107" y="435194"/>
                  <a:pt x="964064" y="438150"/>
                </a:cubicBezTo>
                <a:cubicBezTo>
                  <a:pt x="966088" y="440174"/>
                  <a:pt x="969009" y="441080"/>
                  <a:pt x="971208" y="442912"/>
                </a:cubicBezTo>
                <a:cubicBezTo>
                  <a:pt x="973795" y="445068"/>
                  <a:pt x="975971" y="447675"/>
                  <a:pt x="978352" y="450056"/>
                </a:cubicBezTo>
                <a:cubicBezTo>
                  <a:pt x="979146" y="452437"/>
                  <a:pt x="979611" y="454955"/>
                  <a:pt x="980733" y="457200"/>
                </a:cubicBezTo>
                <a:cubicBezTo>
                  <a:pt x="989969" y="475675"/>
                  <a:pt x="981887" y="453523"/>
                  <a:pt x="987877" y="471487"/>
                </a:cubicBezTo>
                <a:cubicBezTo>
                  <a:pt x="989375" y="481976"/>
                  <a:pt x="987801" y="488081"/>
                  <a:pt x="995020" y="495300"/>
                </a:cubicBezTo>
                <a:cubicBezTo>
                  <a:pt x="997044" y="497324"/>
                  <a:pt x="999783" y="498475"/>
                  <a:pt x="1002164" y="500062"/>
                </a:cubicBezTo>
                <a:cubicBezTo>
                  <a:pt x="1008951" y="520421"/>
                  <a:pt x="1001945" y="513727"/>
                  <a:pt x="1025977" y="516731"/>
                </a:cubicBezTo>
                <a:cubicBezTo>
                  <a:pt x="1040377" y="526333"/>
                  <a:pt x="1028450" y="515277"/>
                  <a:pt x="1030739" y="538162"/>
                </a:cubicBezTo>
                <a:cubicBezTo>
                  <a:pt x="1031024" y="541010"/>
                  <a:pt x="1033838" y="542977"/>
                  <a:pt x="1035502" y="545306"/>
                </a:cubicBezTo>
                <a:cubicBezTo>
                  <a:pt x="1043558" y="556584"/>
                  <a:pt x="1039923" y="553016"/>
                  <a:pt x="1049789" y="559594"/>
                </a:cubicBezTo>
                <a:cubicBezTo>
                  <a:pt x="1054029" y="572314"/>
                  <a:pt x="1054042" y="568268"/>
                  <a:pt x="1047408" y="588169"/>
                </a:cubicBezTo>
                <a:cubicBezTo>
                  <a:pt x="1046503" y="590884"/>
                  <a:pt x="1044880" y="593524"/>
                  <a:pt x="1042645" y="595312"/>
                </a:cubicBezTo>
                <a:cubicBezTo>
                  <a:pt x="1040685" y="596880"/>
                  <a:pt x="1037883" y="596900"/>
                  <a:pt x="1035502" y="597694"/>
                </a:cubicBezTo>
                <a:cubicBezTo>
                  <a:pt x="1033914" y="602456"/>
                  <a:pt x="1032984" y="607491"/>
                  <a:pt x="1030739" y="611981"/>
                </a:cubicBezTo>
                <a:cubicBezTo>
                  <a:pt x="1028964" y="615531"/>
                  <a:pt x="1025698" y="618140"/>
                  <a:pt x="1023595" y="621506"/>
                </a:cubicBezTo>
                <a:cubicBezTo>
                  <a:pt x="1021714" y="624516"/>
                  <a:pt x="1020420" y="627856"/>
                  <a:pt x="1018833" y="631031"/>
                </a:cubicBezTo>
                <a:cubicBezTo>
                  <a:pt x="1017245" y="642937"/>
                  <a:pt x="1014070" y="654738"/>
                  <a:pt x="1014070" y="666750"/>
                </a:cubicBezTo>
                <a:cubicBezTo>
                  <a:pt x="1014070" y="673295"/>
                  <a:pt x="1018833" y="685800"/>
                  <a:pt x="1018833" y="685800"/>
                </a:cubicBezTo>
                <a:cubicBezTo>
                  <a:pt x="1017245" y="703262"/>
                  <a:pt x="1016550" y="720829"/>
                  <a:pt x="1014070" y="738187"/>
                </a:cubicBezTo>
                <a:cubicBezTo>
                  <a:pt x="1013360" y="743157"/>
                  <a:pt x="1009308" y="752475"/>
                  <a:pt x="1009308" y="752475"/>
                </a:cubicBezTo>
                <a:cubicBezTo>
                  <a:pt x="1010102" y="769144"/>
                  <a:pt x="1009619" y="785922"/>
                  <a:pt x="1011689" y="802481"/>
                </a:cubicBezTo>
                <a:cubicBezTo>
                  <a:pt x="1012044" y="805321"/>
                  <a:pt x="1015982" y="806802"/>
                  <a:pt x="1016452" y="809625"/>
                </a:cubicBezTo>
                <a:cubicBezTo>
                  <a:pt x="1016865" y="812101"/>
                  <a:pt x="1014760" y="814355"/>
                  <a:pt x="1014070" y="816769"/>
                </a:cubicBezTo>
                <a:cubicBezTo>
                  <a:pt x="1011388" y="826155"/>
                  <a:pt x="1013473" y="827485"/>
                  <a:pt x="1004545" y="833437"/>
                </a:cubicBezTo>
                <a:cubicBezTo>
                  <a:pt x="1002457" y="834829"/>
                  <a:pt x="999883" y="835437"/>
                  <a:pt x="997402" y="835819"/>
                </a:cubicBezTo>
                <a:cubicBezTo>
                  <a:pt x="989518" y="837032"/>
                  <a:pt x="981527" y="837406"/>
                  <a:pt x="973589" y="838200"/>
                </a:cubicBezTo>
                <a:cubicBezTo>
                  <a:pt x="971208" y="838994"/>
                  <a:pt x="968859" y="839891"/>
                  <a:pt x="966445" y="840581"/>
                </a:cubicBezTo>
                <a:cubicBezTo>
                  <a:pt x="963298" y="841480"/>
                  <a:pt x="959911" y="841633"/>
                  <a:pt x="956920" y="842962"/>
                </a:cubicBezTo>
                <a:cubicBezTo>
                  <a:pt x="952691" y="844842"/>
                  <a:pt x="948919" y="847621"/>
                  <a:pt x="945014" y="850106"/>
                </a:cubicBezTo>
                <a:cubicBezTo>
                  <a:pt x="940185" y="853179"/>
                  <a:pt x="930727" y="859631"/>
                  <a:pt x="930727" y="859631"/>
                </a:cubicBezTo>
                <a:lnTo>
                  <a:pt x="925964" y="873919"/>
                </a:lnTo>
                <a:cubicBezTo>
                  <a:pt x="924377" y="878681"/>
                  <a:pt x="925379" y="885421"/>
                  <a:pt x="921202" y="888206"/>
                </a:cubicBezTo>
                <a:lnTo>
                  <a:pt x="914058" y="892969"/>
                </a:lnTo>
                <a:cubicBezTo>
                  <a:pt x="912470" y="895350"/>
                  <a:pt x="911530" y="898324"/>
                  <a:pt x="909295" y="900112"/>
                </a:cubicBezTo>
                <a:cubicBezTo>
                  <a:pt x="907335" y="901680"/>
                  <a:pt x="904397" y="901371"/>
                  <a:pt x="902152" y="902494"/>
                </a:cubicBezTo>
                <a:cubicBezTo>
                  <a:pt x="883698" y="911721"/>
                  <a:pt x="905811" y="903656"/>
                  <a:pt x="887864" y="909637"/>
                </a:cubicBezTo>
                <a:cubicBezTo>
                  <a:pt x="873577" y="908843"/>
                  <a:pt x="859253" y="908551"/>
                  <a:pt x="845002" y="907256"/>
                </a:cubicBezTo>
                <a:cubicBezTo>
                  <a:pt x="841743" y="906960"/>
                  <a:pt x="838742" y="905093"/>
                  <a:pt x="835477" y="904875"/>
                </a:cubicBezTo>
                <a:cubicBezTo>
                  <a:pt x="814870" y="903501"/>
                  <a:pt x="794202" y="903288"/>
                  <a:pt x="773564" y="902494"/>
                </a:cubicBezTo>
                <a:lnTo>
                  <a:pt x="752133" y="897731"/>
                </a:lnTo>
                <a:cubicBezTo>
                  <a:pt x="748176" y="896883"/>
                  <a:pt x="744254" y="895753"/>
                  <a:pt x="740227" y="895350"/>
                </a:cubicBezTo>
                <a:cubicBezTo>
                  <a:pt x="728353" y="894163"/>
                  <a:pt x="716414" y="893763"/>
                  <a:pt x="704508" y="892969"/>
                </a:cubicBezTo>
                <a:cubicBezTo>
                  <a:pt x="702127" y="891381"/>
                  <a:pt x="699388" y="890230"/>
                  <a:pt x="697364" y="888206"/>
                </a:cubicBezTo>
                <a:cubicBezTo>
                  <a:pt x="691647" y="882489"/>
                  <a:pt x="693124" y="880694"/>
                  <a:pt x="690220" y="873919"/>
                </a:cubicBezTo>
                <a:cubicBezTo>
                  <a:pt x="688822" y="870656"/>
                  <a:pt x="687219" y="867476"/>
                  <a:pt x="685458" y="864394"/>
                </a:cubicBezTo>
                <a:cubicBezTo>
                  <a:pt x="678624" y="852433"/>
                  <a:pt x="682102" y="862121"/>
                  <a:pt x="675933" y="847725"/>
                </a:cubicBezTo>
                <a:cubicBezTo>
                  <a:pt x="673885" y="842946"/>
                  <a:pt x="672377" y="835884"/>
                  <a:pt x="671170" y="831056"/>
                </a:cubicBezTo>
                <a:cubicBezTo>
                  <a:pt x="671964" y="825500"/>
                  <a:pt x="672191" y="819832"/>
                  <a:pt x="673552" y="814387"/>
                </a:cubicBezTo>
                <a:cubicBezTo>
                  <a:pt x="674589" y="810240"/>
                  <a:pt x="677476" y="806672"/>
                  <a:pt x="678314" y="802481"/>
                </a:cubicBezTo>
                <a:cubicBezTo>
                  <a:pt x="679878" y="794659"/>
                  <a:pt x="674262" y="783386"/>
                  <a:pt x="680695" y="778669"/>
                </a:cubicBezTo>
                <a:cubicBezTo>
                  <a:pt x="689679" y="772081"/>
                  <a:pt x="702920" y="777081"/>
                  <a:pt x="714033" y="776287"/>
                </a:cubicBezTo>
                <a:cubicBezTo>
                  <a:pt x="724435" y="745080"/>
                  <a:pt x="716641" y="771205"/>
                  <a:pt x="714033" y="692944"/>
                </a:cubicBezTo>
                <a:cubicBezTo>
                  <a:pt x="713292" y="670717"/>
                  <a:pt x="712446" y="648494"/>
                  <a:pt x="711652" y="626269"/>
                </a:cubicBezTo>
                <a:cubicBezTo>
                  <a:pt x="712446" y="614363"/>
                  <a:pt x="712784" y="602417"/>
                  <a:pt x="714033" y="590550"/>
                </a:cubicBezTo>
                <a:cubicBezTo>
                  <a:pt x="714376" y="587295"/>
                  <a:pt x="714512" y="583688"/>
                  <a:pt x="716414" y="581025"/>
                </a:cubicBezTo>
                <a:cubicBezTo>
                  <a:pt x="718721" y="577795"/>
                  <a:pt x="723133" y="576687"/>
                  <a:pt x="725939" y="573881"/>
                </a:cubicBezTo>
                <a:cubicBezTo>
                  <a:pt x="734723" y="565097"/>
                  <a:pt x="726145" y="567394"/>
                  <a:pt x="737845" y="559594"/>
                </a:cubicBezTo>
                <a:cubicBezTo>
                  <a:pt x="739934" y="558202"/>
                  <a:pt x="742608" y="558006"/>
                  <a:pt x="744989" y="557212"/>
                </a:cubicBezTo>
                <a:cubicBezTo>
                  <a:pt x="745783" y="554831"/>
                  <a:pt x="745595" y="551844"/>
                  <a:pt x="747370" y="550069"/>
                </a:cubicBezTo>
                <a:cubicBezTo>
                  <a:pt x="751418" y="546022"/>
                  <a:pt x="761658" y="540544"/>
                  <a:pt x="761658" y="540544"/>
                </a:cubicBezTo>
                <a:cubicBezTo>
                  <a:pt x="762452" y="538163"/>
                  <a:pt x="762916" y="535645"/>
                  <a:pt x="764039" y="533400"/>
                </a:cubicBezTo>
                <a:cubicBezTo>
                  <a:pt x="765319" y="530840"/>
                  <a:pt x="767675" y="528887"/>
                  <a:pt x="768802" y="526256"/>
                </a:cubicBezTo>
                <a:cubicBezTo>
                  <a:pt x="778031" y="504723"/>
                  <a:pt x="763987" y="527527"/>
                  <a:pt x="775945" y="509587"/>
                </a:cubicBezTo>
                <a:cubicBezTo>
                  <a:pt x="777708" y="500777"/>
                  <a:pt x="778652" y="490212"/>
                  <a:pt x="785470" y="483394"/>
                </a:cubicBezTo>
                <a:cubicBezTo>
                  <a:pt x="787494" y="481370"/>
                  <a:pt x="790233" y="480219"/>
                  <a:pt x="792614" y="478631"/>
                </a:cubicBezTo>
                <a:cubicBezTo>
                  <a:pt x="795316" y="474578"/>
                  <a:pt x="801570" y="464912"/>
                  <a:pt x="804520" y="461962"/>
                </a:cubicBezTo>
                <a:cubicBezTo>
                  <a:pt x="806544" y="459938"/>
                  <a:pt x="809283" y="458787"/>
                  <a:pt x="811664" y="457200"/>
                </a:cubicBezTo>
                <a:cubicBezTo>
                  <a:pt x="812458" y="454819"/>
                  <a:pt x="812922" y="452301"/>
                  <a:pt x="814045" y="450056"/>
                </a:cubicBezTo>
                <a:cubicBezTo>
                  <a:pt x="815325" y="447496"/>
                  <a:pt x="817681" y="445543"/>
                  <a:pt x="818808" y="442912"/>
                </a:cubicBezTo>
                <a:cubicBezTo>
                  <a:pt x="820097" y="439904"/>
                  <a:pt x="820290" y="436534"/>
                  <a:pt x="821189" y="433387"/>
                </a:cubicBezTo>
                <a:cubicBezTo>
                  <a:pt x="821878" y="430974"/>
                  <a:pt x="822776" y="428625"/>
                  <a:pt x="823570" y="426244"/>
                </a:cubicBezTo>
                <a:cubicBezTo>
                  <a:pt x="822776" y="417513"/>
                  <a:pt x="823961" y="408367"/>
                  <a:pt x="821189" y="400050"/>
                </a:cubicBezTo>
                <a:cubicBezTo>
                  <a:pt x="820395" y="397669"/>
                  <a:pt x="816480" y="398278"/>
                  <a:pt x="814045" y="397669"/>
                </a:cubicBezTo>
                <a:cubicBezTo>
                  <a:pt x="810119" y="396687"/>
                  <a:pt x="806108" y="396081"/>
                  <a:pt x="802139" y="395287"/>
                </a:cubicBezTo>
                <a:cubicBezTo>
                  <a:pt x="794149" y="389961"/>
                  <a:pt x="793306" y="390544"/>
                  <a:pt x="787852" y="381000"/>
                </a:cubicBezTo>
                <a:cubicBezTo>
                  <a:pt x="785199" y="376358"/>
                  <a:pt x="785082" y="368982"/>
                  <a:pt x="783089" y="364331"/>
                </a:cubicBezTo>
                <a:cubicBezTo>
                  <a:pt x="781962" y="361700"/>
                  <a:pt x="780708" y="358775"/>
                  <a:pt x="778327" y="357187"/>
                </a:cubicBezTo>
                <a:cubicBezTo>
                  <a:pt x="775959" y="355608"/>
                  <a:pt x="754560" y="352433"/>
                  <a:pt x="754514" y="352425"/>
                </a:cubicBezTo>
                <a:cubicBezTo>
                  <a:pt x="749752" y="350044"/>
                  <a:pt x="745347" y="346744"/>
                  <a:pt x="740227" y="345281"/>
                </a:cubicBezTo>
                <a:cubicBezTo>
                  <a:pt x="724498" y="340787"/>
                  <a:pt x="713537" y="343664"/>
                  <a:pt x="697364" y="345281"/>
                </a:cubicBezTo>
                <a:cubicBezTo>
                  <a:pt x="696570" y="347662"/>
                  <a:pt x="696551" y="350465"/>
                  <a:pt x="694983" y="352425"/>
                </a:cubicBezTo>
                <a:cubicBezTo>
                  <a:pt x="684100" y="366028"/>
                  <a:pt x="644113" y="354886"/>
                  <a:pt x="642595" y="354806"/>
                </a:cubicBezTo>
                <a:cubicBezTo>
                  <a:pt x="623048" y="349920"/>
                  <a:pt x="633658" y="351523"/>
                  <a:pt x="599733" y="354806"/>
                </a:cubicBezTo>
                <a:cubicBezTo>
                  <a:pt x="586209" y="356115"/>
                  <a:pt x="572746" y="357981"/>
                  <a:pt x="559252" y="359569"/>
                </a:cubicBezTo>
                <a:cubicBezTo>
                  <a:pt x="550518" y="372667"/>
                  <a:pt x="559253" y="361550"/>
                  <a:pt x="547345" y="371475"/>
                </a:cubicBezTo>
                <a:cubicBezTo>
                  <a:pt x="544758" y="373631"/>
                  <a:pt x="543146" y="376984"/>
                  <a:pt x="540202" y="378619"/>
                </a:cubicBezTo>
                <a:cubicBezTo>
                  <a:pt x="521356" y="389089"/>
                  <a:pt x="474431" y="385440"/>
                  <a:pt x="466383" y="385762"/>
                </a:cubicBezTo>
                <a:cubicBezTo>
                  <a:pt x="458371" y="388433"/>
                  <a:pt x="457949" y="388200"/>
                  <a:pt x="449714" y="392906"/>
                </a:cubicBezTo>
                <a:cubicBezTo>
                  <a:pt x="447229" y="394326"/>
                  <a:pt x="445201" y="396542"/>
                  <a:pt x="442570" y="397669"/>
                </a:cubicBezTo>
                <a:cubicBezTo>
                  <a:pt x="439562" y="398958"/>
                  <a:pt x="436220" y="399256"/>
                  <a:pt x="433045" y="400050"/>
                </a:cubicBezTo>
                <a:cubicBezTo>
                  <a:pt x="431458" y="403225"/>
                  <a:pt x="430555" y="406848"/>
                  <a:pt x="428283" y="409575"/>
                </a:cubicBezTo>
                <a:cubicBezTo>
                  <a:pt x="424733" y="413834"/>
                  <a:pt x="418869" y="415094"/>
                  <a:pt x="413995" y="416719"/>
                </a:cubicBezTo>
                <a:cubicBezTo>
                  <a:pt x="411614" y="419894"/>
                  <a:pt x="410154" y="424043"/>
                  <a:pt x="406852" y="426244"/>
                </a:cubicBezTo>
                <a:cubicBezTo>
                  <a:pt x="402675" y="429029"/>
                  <a:pt x="397054" y="428761"/>
                  <a:pt x="392564" y="431006"/>
                </a:cubicBezTo>
                <a:lnTo>
                  <a:pt x="383039" y="435769"/>
                </a:lnTo>
                <a:cubicBezTo>
                  <a:pt x="383833" y="442913"/>
                  <a:pt x="384238" y="450110"/>
                  <a:pt x="385420" y="457200"/>
                </a:cubicBezTo>
                <a:cubicBezTo>
                  <a:pt x="385833" y="459676"/>
                  <a:pt x="388215" y="461868"/>
                  <a:pt x="387802" y="464344"/>
                </a:cubicBezTo>
                <a:cubicBezTo>
                  <a:pt x="386564" y="471772"/>
                  <a:pt x="380658" y="485775"/>
                  <a:pt x="380658" y="485775"/>
                </a:cubicBezTo>
                <a:cubicBezTo>
                  <a:pt x="379864" y="494506"/>
                  <a:pt x="381985" y="504024"/>
                  <a:pt x="378277" y="511969"/>
                </a:cubicBezTo>
                <a:cubicBezTo>
                  <a:pt x="375856" y="517156"/>
                  <a:pt x="363989" y="521494"/>
                  <a:pt x="363989" y="521494"/>
                </a:cubicBezTo>
                <a:cubicBezTo>
                  <a:pt x="362402" y="523875"/>
                  <a:pt x="360507" y="526078"/>
                  <a:pt x="359227" y="528637"/>
                </a:cubicBezTo>
                <a:cubicBezTo>
                  <a:pt x="358104" y="530882"/>
                  <a:pt x="357002" y="533276"/>
                  <a:pt x="356845" y="535781"/>
                </a:cubicBezTo>
                <a:cubicBezTo>
                  <a:pt x="355408" y="558768"/>
                  <a:pt x="355816" y="581844"/>
                  <a:pt x="354464" y="604837"/>
                </a:cubicBezTo>
                <a:cubicBezTo>
                  <a:pt x="354226" y="608878"/>
                  <a:pt x="354945" y="613882"/>
                  <a:pt x="352083" y="616744"/>
                </a:cubicBezTo>
                <a:cubicBezTo>
                  <a:pt x="348533" y="620294"/>
                  <a:pt x="337795" y="621506"/>
                  <a:pt x="337795" y="621506"/>
                </a:cubicBezTo>
                <a:cubicBezTo>
                  <a:pt x="335414" y="623887"/>
                  <a:pt x="333239" y="626494"/>
                  <a:pt x="330652" y="628650"/>
                </a:cubicBezTo>
                <a:cubicBezTo>
                  <a:pt x="328453" y="630482"/>
                  <a:pt x="324413" y="630697"/>
                  <a:pt x="323508" y="633412"/>
                </a:cubicBezTo>
                <a:cubicBezTo>
                  <a:pt x="320985" y="640980"/>
                  <a:pt x="322181" y="649318"/>
                  <a:pt x="321127" y="657225"/>
                </a:cubicBezTo>
                <a:cubicBezTo>
                  <a:pt x="319449" y="669811"/>
                  <a:pt x="319327" y="667967"/>
                  <a:pt x="313983" y="678656"/>
                </a:cubicBezTo>
                <a:cubicBezTo>
                  <a:pt x="313189" y="686594"/>
                  <a:pt x="314328" y="694972"/>
                  <a:pt x="311602" y="702469"/>
                </a:cubicBezTo>
                <a:cubicBezTo>
                  <a:pt x="310744" y="704828"/>
                  <a:pt x="306233" y="703075"/>
                  <a:pt x="304458" y="704850"/>
                </a:cubicBezTo>
                <a:cubicBezTo>
                  <a:pt x="302683" y="706625"/>
                  <a:pt x="304037" y="710426"/>
                  <a:pt x="302077" y="711994"/>
                </a:cubicBezTo>
                <a:cubicBezTo>
                  <a:pt x="299521" y="714038"/>
                  <a:pt x="295772" y="713790"/>
                  <a:pt x="292552" y="714375"/>
                </a:cubicBezTo>
                <a:cubicBezTo>
                  <a:pt x="287030" y="715379"/>
                  <a:pt x="281439" y="715962"/>
                  <a:pt x="275883" y="716756"/>
                </a:cubicBezTo>
                <a:lnTo>
                  <a:pt x="254452" y="723900"/>
                </a:lnTo>
                <a:cubicBezTo>
                  <a:pt x="251737" y="724805"/>
                  <a:pt x="249689" y="727075"/>
                  <a:pt x="247308" y="728662"/>
                </a:cubicBezTo>
                <a:cubicBezTo>
                  <a:pt x="234609" y="747710"/>
                  <a:pt x="251274" y="724697"/>
                  <a:pt x="235402" y="740569"/>
                </a:cubicBezTo>
                <a:cubicBezTo>
                  <a:pt x="224962" y="751009"/>
                  <a:pt x="237144" y="745106"/>
                  <a:pt x="223495" y="754856"/>
                </a:cubicBezTo>
                <a:cubicBezTo>
                  <a:pt x="220606" y="756919"/>
                  <a:pt x="217052" y="757858"/>
                  <a:pt x="213970" y="759619"/>
                </a:cubicBezTo>
                <a:cubicBezTo>
                  <a:pt x="201182" y="766927"/>
                  <a:pt x="212945" y="762852"/>
                  <a:pt x="197302" y="766762"/>
                </a:cubicBezTo>
                <a:cubicBezTo>
                  <a:pt x="196508" y="769143"/>
                  <a:pt x="197099" y="772661"/>
                  <a:pt x="194920" y="773906"/>
                </a:cubicBezTo>
                <a:cubicBezTo>
                  <a:pt x="190728" y="776301"/>
                  <a:pt x="185424" y="775688"/>
                  <a:pt x="180633" y="776287"/>
                </a:cubicBezTo>
                <a:cubicBezTo>
                  <a:pt x="166368" y="778070"/>
                  <a:pt x="152058" y="779462"/>
                  <a:pt x="137770" y="781050"/>
                </a:cubicBezTo>
                <a:cubicBezTo>
                  <a:pt x="120378" y="786847"/>
                  <a:pt x="128353" y="787029"/>
                  <a:pt x="113958" y="783431"/>
                </a:cubicBezTo>
                <a:cubicBezTo>
                  <a:pt x="115162" y="777410"/>
                  <a:pt x="116172" y="766930"/>
                  <a:pt x="121102" y="762000"/>
                </a:cubicBezTo>
                <a:cubicBezTo>
                  <a:pt x="125149" y="757953"/>
                  <a:pt x="135389" y="752475"/>
                  <a:pt x="135389" y="752475"/>
                </a:cubicBezTo>
                <a:cubicBezTo>
                  <a:pt x="136819" y="746755"/>
                  <a:pt x="137393" y="739918"/>
                  <a:pt x="142533" y="735806"/>
                </a:cubicBezTo>
                <a:cubicBezTo>
                  <a:pt x="144493" y="734238"/>
                  <a:pt x="147296" y="734219"/>
                  <a:pt x="149677" y="733425"/>
                </a:cubicBezTo>
                <a:cubicBezTo>
                  <a:pt x="148883" y="731044"/>
                  <a:pt x="147985" y="728695"/>
                  <a:pt x="147295" y="726281"/>
                </a:cubicBezTo>
                <a:cubicBezTo>
                  <a:pt x="146396" y="723134"/>
                  <a:pt x="147228" y="719070"/>
                  <a:pt x="144914" y="716756"/>
                </a:cubicBezTo>
                <a:cubicBezTo>
                  <a:pt x="142600" y="714442"/>
                  <a:pt x="138564" y="715169"/>
                  <a:pt x="135389" y="714375"/>
                </a:cubicBezTo>
                <a:cubicBezTo>
                  <a:pt x="130627" y="715169"/>
                  <a:pt x="125294" y="714361"/>
                  <a:pt x="121102" y="716756"/>
                </a:cubicBezTo>
                <a:cubicBezTo>
                  <a:pt x="118923" y="718001"/>
                  <a:pt x="119183" y="721433"/>
                  <a:pt x="118720" y="723900"/>
                </a:cubicBezTo>
                <a:cubicBezTo>
                  <a:pt x="116796" y="734161"/>
                  <a:pt x="116904" y="744840"/>
                  <a:pt x="113958" y="754856"/>
                </a:cubicBezTo>
                <a:cubicBezTo>
                  <a:pt x="110708" y="765905"/>
                  <a:pt x="105834" y="764320"/>
                  <a:pt x="97289" y="766762"/>
                </a:cubicBezTo>
                <a:cubicBezTo>
                  <a:pt x="73376" y="773595"/>
                  <a:pt x="110395" y="764082"/>
                  <a:pt x="80620" y="771525"/>
                </a:cubicBezTo>
                <a:cubicBezTo>
                  <a:pt x="62887" y="783347"/>
                  <a:pt x="84665" y="768154"/>
                  <a:pt x="66333" y="783431"/>
                </a:cubicBezTo>
                <a:cubicBezTo>
                  <a:pt x="64134" y="785263"/>
                  <a:pt x="61570" y="786606"/>
                  <a:pt x="59189" y="788194"/>
                </a:cubicBezTo>
                <a:cubicBezTo>
                  <a:pt x="40139" y="787400"/>
                  <a:pt x="20047" y="792076"/>
                  <a:pt x="2039" y="785812"/>
                </a:cubicBezTo>
                <a:cubicBezTo>
                  <a:pt x="-3262" y="783968"/>
                  <a:pt x="3319" y="774647"/>
                  <a:pt x="4420" y="769144"/>
                </a:cubicBezTo>
                <a:cubicBezTo>
                  <a:pt x="6690" y="757795"/>
                  <a:pt x="6606" y="765131"/>
                  <a:pt x="13945" y="754856"/>
                </a:cubicBezTo>
                <a:cubicBezTo>
                  <a:pt x="16008" y="751967"/>
                  <a:pt x="17120" y="748506"/>
                  <a:pt x="18708" y="745331"/>
                </a:cubicBezTo>
                <a:cubicBezTo>
                  <a:pt x="19502" y="735806"/>
                  <a:pt x="19826" y="726230"/>
                  <a:pt x="21089" y="716756"/>
                </a:cubicBezTo>
                <a:cubicBezTo>
                  <a:pt x="21421" y="714268"/>
                  <a:pt x="21695" y="711387"/>
                  <a:pt x="23470" y="709612"/>
                </a:cubicBezTo>
                <a:cubicBezTo>
                  <a:pt x="25245" y="707837"/>
                  <a:pt x="28233" y="708025"/>
                  <a:pt x="30614" y="707231"/>
                </a:cubicBezTo>
                <a:cubicBezTo>
                  <a:pt x="34805" y="694657"/>
                  <a:pt x="31603" y="702175"/>
                  <a:pt x="42520" y="685800"/>
                </a:cubicBezTo>
                <a:cubicBezTo>
                  <a:pt x="46317" y="680104"/>
                  <a:pt x="48594" y="675678"/>
                  <a:pt x="54427" y="671512"/>
                </a:cubicBezTo>
                <a:cubicBezTo>
                  <a:pt x="57316" y="669449"/>
                  <a:pt x="60870" y="668511"/>
                  <a:pt x="63952" y="666750"/>
                </a:cubicBezTo>
                <a:cubicBezTo>
                  <a:pt x="66437" y="665330"/>
                  <a:pt x="68714" y="663575"/>
                  <a:pt x="71095" y="661987"/>
                </a:cubicBezTo>
                <a:cubicBezTo>
                  <a:pt x="72683" y="659606"/>
                  <a:pt x="74731" y="657474"/>
                  <a:pt x="75858" y="654844"/>
                </a:cubicBezTo>
                <a:cubicBezTo>
                  <a:pt x="85086" y="633313"/>
                  <a:pt x="71043" y="656113"/>
                  <a:pt x="83002" y="638175"/>
                </a:cubicBezTo>
                <a:cubicBezTo>
                  <a:pt x="80621" y="636587"/>
                  <a:pt x="78573" y="634317"/>
                  <a:pt x="75858" y="633412"/>
                </a:cubicBezTo>
                <a:cubicBezTo>
                  <a:pt x="68916" y="631098"/>
                  <a:pt x="60633" y="632528"/>
                  <a:pt x="54427" y="628650"/>
                </a:cubicBezTo>
                <a:cubicBezTo>
                  <a:pt x="52298" y="627320"/>
                  <a:pt x="55819" y="623813"/>
                  <a:pt x="56808" y="621506"/>
                </a:cubicBezTo>
                <a:cubicBezTo>
                  <a:pt x="58206" y="618243"/>
                  <a:pt x="59060" y="614491"/>
                  <a:pt x="61570" y="611981"/>
                </a:cubicBezTo>
                <a:cubicBezTo>
                  <a:pt x="65617" y="607934"/>
                  <a:pt x="75858" y="602456"/>
                  <a:pt x="75858" y="602456"/>
                </a:cubicBezTo>
                <a:cubicBezTo>
                  <a:pt x="81843" y="584499"/>
                  <a:pt x="73073" y="605937"/>
                  <a:pt x="85383" y="590550"/>
                </a:cubicBezTo>
                <a:cubicBezTo>
                  <a:pt x="86951" y="588590"/>
                  <a:pt x="86970" y="585787"/>
                  <a:pt x="87764" y="583406"/>
                </a:cubicBezTo>
                <a:lnTo>
                  <a:pt x="102052" y="59293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55" name="TextBox 1954"/>
          <p:cNvSpPr txBox="1"/>
          <p:nvPr/>
        </p:nvSpPr>
        <p:spPr>
          <a:xfrm>
            <a:off x="4476182" y="3147025"/>
            <a:ext cx="16353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766"/>
            <a:r>
              <a:rPr lang="en-US" sz="1050" dirty="0" smtClean="0">
                <a:solidFill>
                  <a:prstClr val="black"/>
                </a:solidFill>
              </a:rPr>
              <a:t>No </a:t>
            </a:r>
            <a:r>
              <a:rPr lang="en-US" sz="1050" dirty="0" err="1" smtClean="0">
                <a:solidFill>
                  <a:prstClr val="black"/>
                </a:solidFill>
              </a:rPr>
              <a:t>convencional</a:t>
            </a:r>
            <a:r>
              <a:rPr lang="en-US" sz="1050" dirty="0" smtClean="0">
                <a:solidFill>
                  <a:prstClr val="black"/>
                </a:solidFill>
              </a:rPr>
              <a:t> (shale)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1956" name="Rectangle 1955"/>
          <p:cNvSpPr/>
          <p:nvPr/>
        </p:nvSpPr>
        <p:spPr>
          <a:xfrm>
            <a:off x="4364078" y="3210812"/>
            <a:ext cx="112104" cy="103258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60" name="Freeform 1959"/>
          <p:cNvSpPr/>
          <p:nvPr/>
        </p:nvSpPr>
        <p:spPr>
          <a:xfrm>
            <a:off x="6886528" y="1818746"/>
            <a:ext cx="1668214" cy="1127055"/>
          </a:xfrm>
          <a:custGeom>
            <a:avLst/>
            <a:gdLst>
              <a:gd name="connsiteX0" fmla="*/ 142927 w 1532379"/>
              <a:gd name="connsiteY0" fmla="*/ 9586 h 1082799"/>
              <a:gd name="connsiteX1" fmla="*/ 142927 w 1532379"/>
              <a:gd name="connsiteY1" fmla="*/ 9586 h 1082799"/>
              <a:gd name="connsiteX2" fmla="*/ 140545 w 1532379"/>
              <a:gd name="connsiteY2" fmla="*/ 126268 h 1082799"/>
              <a:gd name="connsiteX3" fmla="*/ 119114 w 1532379"/>
              <a:gd name="connsiteY3" fmla="*/ 157224 h 1082799"/>
              <a:gd name="connsiteX4" fmla="*/ 104827 w 1532379"/>
              <a:gd name="connsiteY4" fmla="*/ 161986 h 1082799"/>
              <a:gd name="connsiteX5" fmla="*/ 102445 w 1532379"/>
              <a:gd name="connsiteY5" fmla="*/ 169130 h 1082799"/>
              <a:gd name="connsiteX6" fmla="*/ 95302 w 1532379"/>
              <a:gd name="connsiteY6" fmla="*/ 171511 h 1082799"/>
              <a:gd name="connsiteX7" fmla="*/ 88158 w 1532379"/>
              <a:gd name="connsiteY7" fmla="*/ 176274 h 1082799"/>
              <a:gd name="connsiteX8" fmla="*/ 85777 w 1532379"/>
              <a:gd name="connsiteY8" fmla="*/ 183418 h 1082799"/>
              <a:gd name="connsiteX9" fmla="*/ 78633 w 1532379"/>
              <a:gd name="connsiteY9" fmla="*/ 188180 h 1082799"/>
              <a:gd name="connsiteX10" fmla="*/ 71489 w 1532379"/>
              <a:gd name="connsiteY10" fmla="*/ 195324 h 1082799"/>
              <a:gd name="connsiteX11" fmla="*/ 61964 w 1532379"/>
              <a:gd name="connsiteY11" fmla="*/ 207230 h 1082799"/>
              <a:gd name="connsiteX12" fmla="*/ 59583 w 1532379"/>
              <a:gd name="connsiteY12" fmla="*/ 216755 h 1082799"/>
              <a:gd name="connsiteX13" fmla="*/ 57202 w 1532379"/>
              <a:gd name="connsiteY13" fmla="*/ 223899 h 1082799"/>
              <a:gd name="connsiteX14" fmla="*/ 52439 w 1532379"/>
              <a:gd name="connsiteY14" fmla="*/ 257236 h 1082799"/>
              <a:gd name="connsiteX15" fmla="*/ 50058 w 1532379"/>
              <a:gd name="connsiteY15" fmla="*/ 266761 h 1082799"/>
              <a:gd name="connsiteX16" fmla="*/ 42914 w 1532379"/>
              <a:gd name="connsiteY16" fmla="*/ 273905 h 1082799"/>
              <a:gd name="connsiteX17" fmla="*/ 28627 w 1532379"/>
              <a:gd name="connsiteY17" fmla="*/ 288193 h 1082799"/>
              <a:gd name="connsiteX18" fmla="*/ 21483 w 1532379"/>
              <a:gd name="connsiteY18" fmla="*/ 302480 h 1082799"/>
              <a:gd name="connsiteX19" fmla="*/ 11958 w 1532379"/>
              <a:gd name="connsiteY19" fmla="*/ 316768 h 1082799"/>
              <a:gd name="connsiteX20" fmla="*/ 9577 w 1532379"/>
              <a:gd name="connsiteY20" fmla="*/ 323911 h 1082799"/>
              <a:gd name="connsiteX21" fmla="*/ 4814 w 1532379"/>
              <a:gd name="connsiteY21" fmla="*/ 345343 h 1082799"/>
              <a:gd name="connsiteX22" fmla="*/ 2433 w 1532379"/>
              <a:gd name="connsiteY22" fmla="*/ 383443 h 1082799"/>
              <a:gd name="connsiteX23" fmla="*/ 52 w 1532379"/>
              <a:gd name="connsiteY23" fmla="*/ 409636 h 1082799"/>
              <a:gd name="connsiteX24" fmla="*/ 2433 w 1532379"/>
              <a:gd name="connsiteY24" fmla="*/ 573943 h 1082799"/>
              <a:gd name="connsiteX25" fmla="*/ 9577 w 1532379"/>
              <a:gd name="connsiteY25" fmla="*/ 583468 h 1082799"/>
              <a:gd name="connsiteX26" fmla="*/ 19102 w 1532379"/>
              <a:gd name="connsiteY26" fmla="*/ 588230 h 1082799"/>
              <a:gd name="connsiteX27" fmla="*/ 28627 w 1532379"/>
              <a:gd name="connsiteY27" fmla="*/ 595374 h 1082799"/>
              <a:gd name="connsiteX28" fmla="*/ 35770 w 1532379"/>
              <a:gd name="connsiteY28" fmla="*/ 659668 h 1082799"/>
              <a:gd name="connsiteX29" fmla="*/ 38152 w 1532379"/>
              <a:gd name="connsiteY29" fmla="*/ 671574 h 1082799"/>
              <a:gd name="connsiteX30" fmla="*/ 50058 w 1532379"/>
              <a:gd name="connsiteY30" fmla="*/ 695386 h 1082799"/>
              <a:gd name="connsiteX31" fmla="*/ 59583 w 1532379"/>
              <a:gd name="connsiteY31" fmla="*/ 702530 h 1082799"/>
              <a:gd name="connsiteX32" fmla="*/ 64345 w 1532379"/>
              <a:gd name="connsiteY32" fmla="*/ 719199 h 1082799"/>
              <a:gd name="connsiteX33" fmla="*/ 71489 w 1532379"/>
              <a:gd name="connsiteY33" fmla="*/ 740630 h 1082799"/>
              <a:gd name="connsiteX34" fmla="*/ 76252 w 1532379"/>
              <a:gd name="connsiteY34" fmla="*/ 754918 h 1082799"/>
              <a:gd name="connsiteX35" fmla="*/ 78633 w 1532379"/>
              <a:gd name="connsiteY35" fmla="*/ 762061 h 1082799"/>
              <a:gd name="connsiteX36" fmla="*/ 83395 w 1532379"/>
              <a:gd name="connsiteY36" fmla="*/ 771586 h 1082799"/>
              <a:gd name="connsiteX37" fmla="*/ 88158 w 1532379"/>
              <a:gd name="connsiteY37" fmla="*/ 778730 h 1082799"/>
              <a:gd name="connsiteX38" fmla="*/ 97683 w 1532379"/>
              <a:gd name="connsiteY38" fmla="*/ 800161 h 1082799"/>
              <a:gd name="connsiteX39" fmla="*/ 109589 w 1532379"/>
              <a:gd name="connsiteY39" fmla="*/ 816830 h 1082799"/>
              <a:gd name="connsiteX40" fmla="*/ 114352 w 1532379"/>
              <a:gd name="connsiteY40" fmla="*/ 823974 h 1082799"/>
              <a:gd name="connsiteX41" fmla="*/ 123877 w 1532379"/>
              <a:gd name="connsiteY41" fmla="*/ 838261 h 1082799"/>
              <a:gd name="connsiteX42" fmla="*/ 126258 w 1532379"/>
              <a:gd name="connsiteY42" fmla="*/ 845405 h 1082799"/>
              <a:gd name="connsiteX43" fmla="*/ 133402 w 1532379"/>
              <a:gd name="connsiteY43" fmla="*/ 866836 h 1082799"/>
              <a:gd name="connsiteX44" fmla="*/ 140545 w 1532379"/>
              <a:gd name="connsiteY44" fmla="*/ 869218 h 1082799"/>
              <a:gd name="connsiteX45" fmla="*/ 154833 w 1532379"/>
              <a:gd name="connsiteY45" fmla="*/ 890649 h 1082799"/>
              <a:gd name="connsiteX46" fmla="*/ 159595 w 1532379"/>
              <a:gd name="connsiteY46" fmla="*/ 900174 h 1082799"/>
              <a:gd name="connsiteX47" fmla="*/ 164358 w 1532379"/>
              <a:gd name="connsiteY47" fmla="*/ 907318 h 1082799"/>
              <a:gd name="connsiteX48" fmla="*/ 169120 w 1532379"/>
              <a:gd name="connsiteY48" fmla="*/ 923986 h 1082799"/>
              <a:gd name="connsiteX49" fmla="*/ 176264 w 1532379"/>
              <a:gd name="connsiteY49" fmla="*/ 928749 h 1082799"/>
              <a:gd name="connsiteX50" fmla="*/ 178645 w 1532379"/>
              <a:gd name="connsiteY50" fmla="*/ 938274 h 1082799"/>
              <a:gd name="connsiteX51" fmla="*/ 185789 w 1532379"/>
              <a:gd name="connsiteY51" fmla="*/ 959705 h 1082799"/>
              <a:gd name="connsiteX52" fmla="*/ 195314 w 1532379"/>
              <a:gd name="connsiteY52" fmla="*/ 966849 h 1082799"/>
              <a:gd name="connsiteX53" fmla="*/ 209602 w 1532379"/>
              <a:gd name="connsiteY53" fmla="*/ 981136 h 1082799"/>
              <a:gd name="connsiteX54" fmla="*/ 216745 w 1532379"/>
              <a:gd name="connsiteY54" fmla="*/ 985899 h 1082799"/>
              <a:gd name="connsiteX55" fmla="*/ 223889 w 1532379"/>
              <a:gd name="connsiteY55" fmla="*/ 993043 h 1082799"/>
              <a:gd name="connsiteX56" fmla="*/ 226270 w 1532379"/>
              <a:gd name="connsiteY56" fmla="*/ 1000186 h 1082799"/>
              <a:gd name="connsiteX57" fmla="*/ 240558 w 1532379"/>
              <a:gd name="connsiteY57" fmla="*/ 1007330 h 1082799"/>
              <a:gd name="connsiteX58" fmla="*/ 245320 w 1532379"/>
              <a:gd name="connsiteY58" fmla="*/ 1014474 h 1082799"/>
              <a:gd name="connsiteX59" fmla="*/ 259608 w 1532379"/>
              <a:gd name="connsiteY59" fmla="*/ 1023999 h 1082799"/>
              <a:gd name="connsiteX60" fmla="*/ 264370 w 1532379"/>
              <a:gd name="connsiteY60" fmla="*/ 1031143 h 1082799"/>
              <a:gd name="connsiteX61" fmla="*/ 273895 w 1532379"/>
              <a:gd name="connsiteY61" fmla="*/ 1033524 h 1082799"/>
              <a:gd name="connsiteX62" fmla="*/ 290564 w 1532379"/>
              <a:gd name="connsiteY62" fmla="*/ 1038286 h 1082799"/>
              <a:gd name="connsiteX63" fmla="*/ 307233 w 1532379"/>
              <a:gd name="connsiteY63" fmla="*/ 1047811 h 1082799"/>
              <a:gd name="connsiteX64" fmla="*/ 314377 w 1532379"/>
              <a:gd name="connsiteY64" fmla="*/ 1052574 h 1082799"/>
              <a:gd name="connsiteX65" fmla="*/ 326283 w 1532379"/>
              <a:gd name="connsiteY65" fmla="*/ 1057336 h 1082799"/>
              <a:gd name="connsiteX66" fmla="*/ 333427 w 1532379"/>
              <a:gd name="connsiteY66" fmla="*/ 1062099 h 1082799"/>
              <a:gd name="connsiteX67" fmla="*/ 340570 w 1532379"/>
              <a:gd name="connsiteY67" fmla="*/ 1069243 h 1082799"/>
              <a:gd name="connsiteX68" fmla="*/ 354858 w 1532379"/>
              <a:gd name="connsiteY68" fmla="*/ 1074005 h 1082799"/>
              <a:gd name="connsiteX69" fmla="*/ 385814 w 1532379"/>
              <a:gd name="connsiteY69" fmla="*/ 1076386 h 1082799"/>
              <a:gd name="connsiteX70" fmla="*/ 442964 w 1532379"/>
              <a:gd name="connsiteY70" fmla="*/ 1078768 h 1082799"/>
              <a:gd name="connsiteX71" fmla="*/ 457252 w 1532379"/>
              <a:gd name="connsiteY71" fmla="*/ 1071624 h 1082799"/>
              <a:gd name="connsiteX72" fmla="*/ 507258 w 1532379"/>
              <a:gd name="connsiteY72" fmla="*/ 1069243 h 1082799"/>
              <a:gd name="connsiteX73" fmla="*/ 519164 w 1532379"/>
              <a:gd name="connsiteY73" fmla="*/ 1054955 h 1082799"/>
              <a:gd name="connsiteX74" fmla="*/ 523927 w 1532379"/>
              <a:gd name="connsiteY74" fmla="*/ 1045430 h 1082799"/>
              <a:gd name="connsiteX75" fmla="*/ 538214 w 1532379"/>
              <a:gd name="connsiteY75" fmla="*/ 1038286 h 1082799"/>
              <a:gd name="connsiteX76" fmla="*/ 550120 w 1532379"/>
              <a:gd name="connsiteY76" fmla="*/ 1035905 h 1082799"/>
              <a:gd name="connsiteX77" fmla="*/ 559645 w 1532379"/>
              <a:gd name="connsiteY77" fmla="*/ 1033524 h 1082799"/>
              <a:gd name="connsiteX78" fmla="*/ 566789 w 1532379"/>
              <a:gd name="connsiteY78" fmla="*/ 1019236 h 1082799"/>
              <a:gd name="connsiteX79" fmla="*/ 576314 w 1532379"/>
              <a:gd name="connsiteY79" fmla="*/ 1016855 h 1082799"/>
              <a:gd name="connsiteX80" fmla="*/ 592983 w 1532379"/>
              <a:gd name="connsiteY80" fmla="*/ 997805 h 1082799"/>
              <a:gd name="connsiteX81" fmla="*/ 597745 w 1532379"/>
              <a:gd name="connsiteY81" fmla="*/ 990661 h 1082799"/>
              <a:gd name="connsiteX82" fmla="*/ 612033 w 1532379"/>
              <a:gd name="connsiteY82" fmla="*/ 981136 h 1082799"/>
              <a:gd name="connsiteX83" fmla="*/ 614414 w 1532379"/>
              <a:gd name="connsiteY83" fmla="*/ 973993 h 1082799"/>
              <a:gd name="connsiteX84" fmla="*/ 619177 w 1532379"/>
              <a:gd name="connsiteY84" fmla="*/ 966849 h 1082799"/>
              <a:gd name="connsiteX85" fmla="*/ 621558 w 1532379"/>
              <a:gd name="connsiteY85" fmla="*/ 947799 h 1082799"/>
              <a:gd name="connsiteX86" fmla="*/ 635845 w 1532379"/>
              <a:gd name="connsiteY86" fmla="*/ 938274 h 1082799"/>
              <a:gd name="connsiteX87" fmla="*/ 654895 w 1532379"/>
              <a:gd name="connsiteY87" fmla="*/ 933511 h 1082799"/>
              <a:gd name="connsiteX88" fmla="*/ 662039 w 1532379"/>
              <a:gd name="connsiteY88" fmla="*/ 931130 h 1082799"/>
              <a:gd name="connsiteX89" fmla="*/ 678708 w 1532379"/>
              <a:gd name="connsiteY89" fmla="*/ 926368 h 1082799"/>
              <a:gd name="connsiteX90" fmla="*/ 685852 w 1532379"/>
              <a:gd name="connsiteY90" fmla="*/ 921605 h 1082799"/>
              <a:gd name="connsiteX91" fmla="*/ 688233 w 1532379"/>
              <a:gd name="connsiteY91" fmla="*/ 914461 h 1082799"/>
              <a:gd name="connsiteX92" fmla="*/ 695377 w 1532379"/>
              <a:gd name="connsiteY92" fmla="*/ 907318 h 1082799"/>
              <a:gd name="connsiteX93" fmla="*/ 690614 w 1532379"/>
              <a:gd name="connsiteY93" fmla="*/ 859693 h 1082799"/>
              <a:gd name="connsiteX94" fmla="*/ 685852 w 1532379"/>
              <a:gd name="connsiteY94" fmla="*/ 852549 h 1082799"/>
              <a:gd name="connsiteX95" fmla="*/ 683470 w 1532379"/>
              <a:gd name="connsiteY95" fmla="*/ 843024 h 1082799"/>
              <a:gd name="connsiteX96" fmla="*/ 678708 w 1532379"/>
              <a:gd name="connsiteY96" fmla="*/ 835880 h 1082799"/>
              <a:gd name="connsiteX97" fmla="*/ 673945 w 1532379"/>
              <a:gd name="connsiteY97" fmla="*/ 823974 h 1082799"/>
              <a:gd name="connsiteX98" fmla="*/ 666802 w 1532379"/>
              <a:gd name="connsiteY98" fmla="*/ 793018 h 1082799"/>
              <a:gd name="connsiteX99" fmla="*/ 662039 w 1532379"/>
              <a:gd name="connsiteY99" fmla="*/ 785874 h 1082799"/>
              <a:gd name="connsiteX100" fmla="*/ 652514 w 1532379"/>
              <a:gd name="connsiteY100" fmla="*/ 783493 h 1082799"/>
              <a:gd name="connsiteX101" fmla="*/ 654895 w 1532379"/>
              <a:gd name="connsiteY101" fmla="*/ 616805 h 1082799"/>
              <a:gd name="connsiteX102" fmla="*/ 662039 w 1532379"/>
              <a:gd name="connsiteY102" fmla="*/ 612043 h 1082799"/>
              <a:gd name="connsiteX103" fmla="*/ 666802 w 1532379"/>
              <a:gd name="connsiteY103" fmla="*/ 604899 h 1082799"/>
              <a:gd name="connsiteX104" fmla="*/ 676327 w 1532379"/>
              <a:gd name="connsiteY104" fmla="*/ 602518 h 1082799"/>
              <a:gd name="connsiteX105" fmla="*/ 683470 w 1532379"/>
              <a:gd name="connsiteY105" fmla="*/ 600136 h 1082799"/>
              <a:gd name="connsiteX106" fmla="*/ 692995 w 1532379"/>
              <a:gd name="connsiteY106" fmla="*/ 597755 h 1082799"/>
              <a:gd name="connsiteX107" fmla="*/ 700139 w 1532379"/>
              <a:gd name="connsiteY107" fmla="*/ 595374 h 1082799"/>
              <a:gd name="connsiteX108" fmla="*/ 709664 w 1532379"/>
              <a:gd name="connsiteY108" fmla="*/ 590611 h 1082799"/>
              <a:gd name="connsiteX109" fmla="*/ 726333 w 1532379"/>
              <a:gd name="connsiteY109" fmla="*/ 588230 h 1082799"/>
              <a:gd name="connsiteX110" fmla="*/ 743002 w 1532379"/>
              <a:gd name="connsiteY110" fmla="*/ 581086 h 1082799"/>
              <a:gd name="connsiteX111" fmla="*/ 750145 w 1532379"/>
              <a:gd name="connsiteY111" fmla="*/ 578705 h 1082799"/>
              <a:gd name="connsiteX112" fmla="*/ 766814 w 1532379"/>
              <a:gd name="connsiteY112" fmla="*/ 571561 h 1082799"/>
              <a:gd name="connsiteX113" fmla="*/ 778720 w 1532379"/>
              <a:gd name="connsiteY113" fmla="*/ 557274 h 1082799"/>
              <a:gd name="connsiteX114" fmla="*/ 783483 w 1532379"/>
              <a:gd name="connsiteY114" fmla="*/ 550130 h 1082799"/>
              <a:gd name="connsiteX115" fmla="*/ 793008 w 1532379"/>
              <a:gd name="connsiteY115" fmla="*/ 547749 h 1082799"/>
              <a:gd name="connsiteX116" fmla="*/ 795389 w 1532379"/>
              <a:gd name="connsiteY116" fmla="*/ 540605 h 1082799"/>
              <a:gd name="connsiteX117" fmla="*/ 809677 w 1532379"/>
              <a:gd name="connsiteY117" fmla="*/ 535843 h 1082799"/>
              <a:gd name="connsiteX118" fmla="*/ 826345 w 1532379"/>
              <a:gd name="connsiteY118" fmla="*/ 528699 h 1082799"/>
              <a:gd name="connsiteX119" fmla="*/ 835870 w 1532379"/>
              <a:gd name="connsiteY119" fmla="*/ 523936 h 1082799"/>
              <a:gd name="connsiteX120" fmla="*/ 883495 w 1532379"/>
              <a:gd name="connsiteY120" fmla="*/ 521555 h 1082799"/>
              <a:gd name="connsiteX121" fmla="*/ 902545 w 1532379"/>
              <a:gd name="connsiteY121" fmla="*/ 516793 h 1082799"/>
              <a:gd name="connsiteX122" fmla="*/ 919214 w 1532379"/>
              <a:gd name="connsiteY122" fmla="*/ 512030 h 1082799"/>
              <a:gd name="connsiteX123" fmla="*/ 923977 w 1532379"/>
              <a:gd name="connsiteY123" fmla="*/ 504886 h 1082799"/>
              <a:gd name="connsiteX124" fmla="*/ 931120 w 1532379"/>
              <a:gd name="connsiteY124" fmla="*/ 502505 h 1082799"/>
              <a:gd name="connsiteX125" fmla="*/ 938264 w 1532379"/>
              <a:gd name="connsiteY125" fmla="*/ 497743 h 1082799"/>
              <a:gd name="connsiteX126" fmla="*/ 947789 w 1532379"/>
              <a:gd name="connsiteY126" fmla="*/ 485836 h 1082799"/>
              <a:gd name="connsiteX127" fmla="*/ 964458 w 1532379"/>
              <a:gd name="connsiteY127" fmla="*/ 466786 h 1082799"/>
              <a:gd name="connsiteX128" fmla="*/ 973983 w 1532379"/>
              <a:gd name="connsiteY128" fmla="*/ 450118 h 1082799"/>
              <a:gd name="connsiteX129" fmla="*/ 981127 w 1532379"/>
              <a:gd name="connsiteY129" fmla="*/ 445355 h 1082799"/>
              <a:gd name="connsiteX130" fmla="*/ 985889 w 1532379"/>
              <a:gd name="connsiteY130" fmla="*/ 438211 h 1082799"/>
              <a:gd name="connsiteX131" fmla="*/ 995414 w 1532379"/>
              <a:gd name="connsiteY131" fmla="*/ 435830 h 1082799"/>
              <a:gd name="connsiteX132" fmla="*/ 1031133 w 1532379"/>
              <a:gd name="connsiteY132" fmla="*/ 433449 h 1082799"/>
              <a:gd name="connsiteX133" fmla="*/ 1038277 w 1532379"/>
              <a:gd name="connsiteY133" fmla="*/ 431068 h 1082799"/>
              <a:gd name="connsiteX134" fmla="*/ 1052564 w 1532379"/>
              <a:gd name="connsiteY134" fmla="*/ 416780 h 1082799"/>
              <a:gd name="connsiteX135" fmla="*/ 1064470 w 1532379"/>
              <a:gd name="connsiteY135" fmla="*/ 402493 h 1082799"/>
              <a:gd name="connsiteX136" fmla="*/ 1073995 w 1532379"/>
              <a:gd name="connsiteY136" fmla="*/ 381061 h 1082799"/>
              <a:gd name="connsiteX137" fmla="*/ 1083520 w 1532379"/>
              <a:gd name="connsiteY137" fmla="*/ 364393 h 1082799"/>
              <a:gd name="connsiteX138" fmla="*/ 1090664 w 1532379"/>
              <a:gd name="connsiteY138" fmla="*/ 354868 h 1082799"/>
              <a:gd name="connsiteX139" fmla="*/ 1097808 w 1532379"/>
              <a:gd name="connsiteY139" fmla="*/ 352486 h 1082799"/>
              <a:gd name="connsiteX140" fmla="*/ 1104952 w 1532379"/>
              <a:gd name="connsiteY140" fmla="*/ 345343 h 1082799"/>
              <a:gd name="connsiteX141" fmla="*/ 1112095 w 1532379"/>
              <a:gd name="connsiteY141" fmla="*/ 342961 h 1082799"/>
              <a:gd name="connsiteX142" fmla="*/ 1128764 w 1532379"/>
              <a:gd name="connsiteY142" fmla="*/ 326293 h 1082799"/>
              <a:gd name="connsiteX143" fmla="*/ 1131145 w 1532379"/>
              <a:gd name="connsiteY143" fmla="*/ 319149 h 1082799"/>
              <a:gd name="connsiteX144" fmla="*/ 1152577 w 1532379"/>
              <a:gd name="connsiteY144" fmla="*/ 316768 h 1082799"/>
              <a:gd name="connsiteX145" fmla="*/ 1166864 w 1532379"/>
              <a:gd name="connsiteY145" fmla="*/ 323911 h 1082799"/>
              <a:gd name="connsiteX146" fmla="*/ 1176389 w 1532379"/>
              <a:gd name="connsiteY146" fmla="*/ 331055 h 1082799"/>
              <a:gd name="connsiteX147" fmla="*/ 1188295 w 1532379"/>
              <a:gd name="connsiteY147" fmla="*/ 333436 h 1082799"/>
              <a:gd name="connsiteX148" fmla="*/ 1259733 w 1532379"/>
              <a:gd name="connsiteY148" fmla="*/ 338199 h 1082799"/>
              <a:gd name="connsiteX149" fmla="*/ 1274020 w 1532379"/>
              <a:gd name="connsiteY149" fmla="*/ 342961 h 1082799"/>
              <a:gd name="connsiteX150" fmla="*/ 1290689 w 1532379"/>
              <a:gd name="connsiteY150" fmla="*/ 352486 h 1082799"/>
              <a:gd name="connsiteX151" fmla="*/ 1328789 w 1532379"/>
              <a:gd name="connsiteY151" fmla="*/ 364393 h 1082799"/>
              <a:gd name="connsiteX152" fmla="*/ 1345458 w 1532379"/>
              <a:gd name="connsiteY152" fmla="*/ 369155 h 1082799"/>
              <a:gd name="connsiteX153" fmla="*/ 1350220 w 1532379"/>
              <a:gd name="connsiteY153" fmla="*/ 378680 h 1082799"/>
              <a:gd name="connsiteX154" fmla="*/ 1343077 w 1532379"/>
              <a:gd name="connsiteY154" fmla="*/ 416780 h 1082799"/>
              <a:gd name="connsiteX155" fmla="*/ 1345458 w 1532379"/>
              <a:gd name="connsiteY155" fmla="*/ 464405 h 1082799"/>
              <a:gd name="connsiteX156" fmla="*/ 1354983 w 1532379"/>
              <a:gd name="connsiteY156" fmla="*/ 466786 h 1082799"/>
              <a:gd name="connsiteX157" fmla="*/ 1364508 w 1532379"/>
              <a:gd name="connsiteY157" fmla="*/ 476311 h 1082799"/>
              <a:gd name="connsiteX158" fmla="*/ 1369270 w 1532379"/>
              <a:gd name="connsiteY158" fmla="*/ 500124 h 1082799"/>
              <a:gd name="connsiteX159" fmla="*/ 1371652 w 1532379"/>
              <a:gd name="connsiteY159" fmla="*/ 509649 h 1082799"/>
              <a:gd name="connsiteX160" fmla="*/ 1381177 w 1532379"/>
              <a:gd name="connsiteY160" fmla="*/ 516793 h 1082799"/>
              <a:gd name="connsiteX161" fmla="*/ 1388320 w 1532379"/>
              <a:gd name="connsiteY161" fmla="*/ 528699 h 1082799"/>
              <a:gd name="connsiteX162" fmla="*/ 1395464 w 1532379"/>
              <a:gd name="connsiteY162" fmla="*/ 538224 h 1082799"/>
              <a:gd name="connsiteX163" fmla="*/ 1404989 w 1532379"/>
              <a:gd name="connsiteY163" fmla="*/ 552511 h 1082799"/>
              <a:gd name="connsiteX164" fmla="*/ 1419277 w 1532379"/>
              <a:gd name="connsiteY164" fmla="*/ 562036 h 1082799"/>
              <a:gd name="connsiteX165" fmla="*/ 1426420 w 1532379"/>
              <a:gd name="connsiteY165" fmla="*/ 576324 h 1082799"/>
              <a:gd name="connsiteX166" fmla="*/ 1433564 w 1532379"/>
              <a:gd name="connsiteY166" fmla="*/ 581086 h 1082799"/>
              <a:gd name="connsiteX167" fmla="*/ 1443089 w 1532379"/>
              <a:gd name="connsiteY167" fmla="*/ 590611 h 1082799"/>
              <a:gd name="connsiteX168" fmla="*/ 1445470 w 1532379"/>
              <a:gd name="connsiteY168" fmla="*/ 597755 h 1082799"/>
              <a:gd name="connsiteX169" fmla="*/ 1450233 w 1532379"/>
              <a:gd name="connsiteY169" fmla="*/ 614424 h 1082799"/>
              <a:gd name="connsiteX170" fmla="*/ 1447852 w 1532379"/>
              <a:gd name="connsiteY170" fmla="*/ 621568 h 1082799"/>
              <a:gd name="connsiteX171" fmla="*/ 1440708 w 1532379"/>
              <a:gd name="connsiteY171" fmla="*/ 628711 h 1082799"/>
              <a:gd name="connsiteX172" fmla="*/ 1443089 w 1532379"/>
              <a:gd name="connsiteY172" fmla="*/ 635855 h 1082799"/>
              <a:gd name="connsiteX173" fmla="*/ 1438327 w 1532379"/>
              <a:gd name="connsiteY173" fmla="*/ 652524 h 1082799"/>
              <a:gd name="connsiteX174" fmla="*/ 1435945 w 1532379"/>
              <a:gd name="connsiteY174" fmla="*/ 659668 h 1082799"/>
              <a:gd name="connsiteX175" fmla="*/ 1443089 w 1532379"/>
              <a:gd name="connsiteY175" fmla="*/ 704911 h 1082799"/>
              <a:gd name="connsiteX176" fmla="*/ 1450233 w 1532379"/>
              <a:gd name="connsiteY176" fmla="*/ 709674 h 1082799"/>
              <a:gd name="connsiteX177" fmla="*/ 1485952 w 1532379"/>
              <a:gd name="connsiteY177" fmla="*/ 707293 h 1082799"/>
              <a:gd name="connsiteX178" fmla="*/ 1505002 w 1532379"/>
              <a:gd name="connsiteY178" fmla="*/ 697768 h 1082799"/>
              <a:gd name="connsiteX179" fmla="*/ 1516908 w 1532379"/>
              <a:gd name="connsiteY179" fmla="*/ 683480 h 1082799"/>
              <a:gd name="connsiteX180" fmla="*/ 1524052 w 1532379"/>
              <a:gd name="connsiteY180" fmla="*/ 681099 h 1082799"/>
              <a:gd name="connsiteX181" fmla="*/ 1528814 w 1532379"/>
              <a:gd name="connsiteY181" fmla="*/ 673955 h 1082799"/>
              <a:gd name="connsiteX182" fmla="*/ 1528814 w 1532379"/>
              <a:gd name="connsiteY182" fmla="*/ 619186 h 1082799"/>
              <a:gd name="connsiteX183" fmla="*/ 1519289 w 1532379"/>
              <a:gd name="connsiteY183" fmla="*/ 578705 h 1082799"/>
              <a:gd name="connsiteX184" fmla="*/ 1516908 w 1532379"/>
              <a:gd name="connsiteY184" fmla="*/ 531080 h 1082799"/>
              <a:gd name="connsiteX185" fmla="*/ 1514527 w 1532379"/>
              <a:gd name="connsiteY185" fmla="*/ 521555 h 1082799"/>
              <a:gd name="connsiteX186" fmla="*/ 1512145 w 1532379"/>
              <a:gd name="connsiteY186" fmla="*/ 502505 h 1082799"/>
              <a:gd name="connsiteX187" fmla="*/ 1500239 w 1532379"/>
              <a:gd name="connsiteY187" fmla="*/ 488218 h 1082799"/>
              <a:gd name="connsiteX188" fmla="*/ 1495477 w 1532379"/>
              <a:gd name="connsiteY188" fmla="*/ 478693 h 1082799"/>
              <a:gd name="connsiteX189" fmla="*/ 1493095 w 1532379"/>
              <a:gd name="connsiteY189" fmla="*/ 471549 h 1082799"/>
              <a:gd name="connsiteX190" fmla="*/ 1483570 w 1532379"/>
              <a:gd name="connsiteY190" fmla="*/ 464405 h 1082799"/>
              <a:gd name="connsiteX191" fmla="*/ 1474045 w 1532379"/>
              <a:gd name="connsiteY191" fmla="*/ 450118 h 1082799"/>
              <a:gd name="connsiteX192" fmla="*/ 1464520 w 1532379"/>
              <a:gd name="connsiteY192" fmla="*/ 435830 h 1082799"/>
              <a:gd name="connsiteX193" fmla="*/ 1459758 w 1532379"/>
              <a:gd name="connsiteY193" fmla="*/ 428686 h 1082799"/>
              <a:gd name="connsiteX194" fmla="*/ 1457377 w 1532379"/>
              <a:gd name="connsiteY194" fmla="*/ 421543 h 1082799"/>
              <a:gd name="connsiteX195" fmla="*/ 1450233 w 1532379"/>
              <a:gd name="connsiteY195" fmla="*/ 378680 h 1082799"/>
              <a:gd name="connsiteX196" fmla="*/ 1447852 w 1532379"/>
              <a:gd name="connsiteY196" fmla="*/ 371536 h 1082799"/>
              <a:gd name="connsiteX197" fmla="*/ 1443089 w 1532379"/>
              <a:gd name="connsiteY197" fmla="*/ 350105 h 1082799"/>
              <a:gd name="connsiteX198" fmla="*/ 1433564 w 1532379"/>
              <a:gd name="connsiteY198" fmla="*/ 335818 h 1082799"/>
              <a:gd name="connsiteX199" fmla="*/ 1426420 w 1532379"/>
              <a:gd name="connsiteY199" fmla="*/ 321530 h 1082799"/>
              <a:gd name="connsiteX200" fmla="*/ 1424039 w 1532379"/>
              <a:gd name="connsiteY200" fmla="*/ 314386 h 1082799"/>
              <a:gd name="connsiteX201" fmla="*/ 1416895 w 1532379"/>
              <a:gd name="connsiteY201" fmla="*/ 309624 h 1082799"/>
              <a:gd name="connsiteX202" fmla="*/ 1412133 w 1532379"/>
              <a:gd name="connsiteY202" fmla="*/ 271524 h 1082799"/>
              <a:gd name="connsiteX203" fmla="*/ 1409752 w 1532379"/>
              <a:gd name="connsiteY203" fmla="*/ 261999 h 1082799"/>
              <a:gd name="connsiteX204" fmla="*/ 1407370 w 1532379"/>
              <a:gd name="connsiteY204" fmla="*/ 238186 h 1082799"/>
              <a:gd name="connsiteX205" fmla="*/ 1402608 w 1532379"/>
              <a:gd name="connsiteY205" fmla="*/ 231043 h 1082799"/>
              <a:gd name="connsiteX206" fmla="*/ 1397845 w 1532379"/>
              <a:gd name="connsiteY206" fmla="*/ 209611 h 1082799"/>
              <a:gd name="connsiteX207" fmla="*/ 1395464 w 1532379"/>
              <a:gd name="connsiteY207" fmla="*/ 200086 h 1082799"/>
              <a:gd name="connsiteX208" fmla="*/ 1393083 w 1532379"/>
              <a:gd name="connsiteY208" fmla="*/ 183418 h 1082799"/>
              <a:gd name="connsiteX209" fmla="*/ 1390702 w 1532379"/>
              <a:gd name="connsiteY209" fmla="*/ 176274 h 1082799"/>
              <a:gd name="connsiteX210" fmla="*/ 1364508 w 1532379"/>
              <a:gd name="connsiteY210" fmla="*/ 169130 h 1082799"/>
              <a:gd name="connsiteX211" fmla="*/ 1343077 w 1532379"/>
              <a:gd name="connsiteY211" fmla="*/ 154843 h 1082799"/>
              <a:gd name="connsiteX212" fmla="*/ 1335933 w 1532379"/>
              <a:gd name="connsiteY212" fmla="*/ 147699 h 1082799"/>
              <a:gd name="connsiteX213" fmla="*/ 1326408 w 1532379"/>
              <a:gd name="connsiteY213" fmla="*/ 142936 h 1082799"/>
              <a:gd name="connsiteX214" fmla="*/ 1312120 w 1532379"/>
              <a:gd name="connsiteY214" fmla="*/ 131030 h 1082799"/>
              <a:gd name="connsiteX215" fmla="*/ 1307358 w 1532379"/>
              <a:gd name="connsiteY215" fmla="*/ 123886 h 1082799"/>
              <a:gd name="connsiteX216" fmla="*/ 1300214 w 1532379"/>
              <a:gd name="connsiteY216" fmla="*/ 121505 h 1082799"/>
              <a:gd name="connsiteX217" fmla="*/ 1283545 w 1532379"/>
              <a:gd name="connsiteY217" fmla="*/ 116743 h 1082799"/>
              <a:gd name="connsiteX218" fmla="*/ 1274020 w 1532379"/>
              <a:gd name="connsiteY218" fmla="*/ 109599 h 1082799"/>
              <a:gd name="connsiteX219" fmla="*/ 1266877 w 1532379"/>
              <a:gd name="connsiteY219" fmla="*/ 107218 h 1082799"/>
              <a:gd name="connsiteX220" fmla="*/ 1257352 w 1532379"/>
              <a:gd name="connsiteY220" fmla="*/ 102455 h 1082799"/>
              <a:gd name="connsiteX221" fmla="*/ 1245445 w 1532379"/>
              <a:gd name="connsiteY221" fmla="*/ 88168 h 1082799"/>
              <a:gd name="connsiteX222" fmla="*/ 1238302 w 1532379"/>
              <a:gd name="connsiteY222" fmla="*/ 85786 h 1082799"/>
              <a:gd name="connsiteX223" fmla="*/ 1221633 w 1532379"/>
              <a:gd name="connsiteY223" fmla="*/ 69118 h 1082799"/>
              <a:gd name="connsiteX224" fmla="*/ 1219252 w 1532379"/>
              <a:gd name="connsiteY224" fmla="*/ 61974 h 1082799"/>
              <a:gd name="connsiteX225" fmla="*/ 1204964 w 1532379"/>
              <a:gd name="connsiteY225" fmla="*/ 57211 h 1082799"/>
              <a:gd name="connsiteX226" fmla="*/ 776339 w 1532379"/>
              <a:gd name="connsiteY226" fmla="*/ 61974 h 1082799"/>
              <a:gd name="connsiteX227" fmla="*/ 773958 w 1532379"/>
              <a:gd name="connsiteY227" fmla="*/ 81024 h 1082799"/>
              <a:gd name="connsiteX228" fmla="*/ 766814 w 1532379"/>
              <a:gd name="connsiteY228" fmla="*/ 83405 h 1082799"/>
              <a:gd name="connsiteX229" fmla="*/ 619177 w 1532379"/>
              <a:gd name="connsiteY229" fmla="*/ 81024 h 1082799"/>
              <a:gd name="connsiteX230" fmla="*/ 604889 w 1532379"/>
              <a:gd name="connsiteY230" fmla="*/ 71499 h 1082799"/>
              <a:gd name="connsiteX231" fmla="*/ 600127 w 1532379"/>
              <a:gd name="connsiteY231" fmla="*/ 57211 h 1082799"/>
              <a:gd name="connsiteX232" fmla="*/ 585839 w 1532379"/>
              <a:gd name="connsiteY232" fmla="*/ 52449 h 1082799"/>
              <a:gd name="connsiteX233" fmla="*/ 564408 w 1532379"/>
              <a:gd name="connsiteY233" fmla="*/ 50068 h 1082799"/>
              <a:gd name="connsiteX234" fmla="*/ 554883 w 1532379"/>
              <a:gd name="connsiteY234" fmla="*/ 45305 h 1082799"/>
              <a:gd name="connsiteX235" fmla="*/ 547739 w 1532379"/>
              <a:gd name="connsiteY235" fmla="*/ 42924 h 1082799"/>
              <a:gd name="connsiteX236" fmla="*/ 538214 w 1532379"/>
              <a:gd name="connsiteY236" fmla="*/ 26255 h 1082799"/>
              <a:gd name="connsiteX237" fmla="*/ 531070 w 1532379"/>
              <a:gd name="connsiteY237" fmla="*/ 21493 h 1082799"/>
              <a:gd name="connsiteX238" fmla="*/ 514402 w 1532379"/>
              <a:gd name="connsiteY238" fmla="*/ 16730 h 1082799"/>
              <a:gd name="connsiteX239" fmla="*/ 502495 w 1532379"/>
              <a:gd name="connsiteY239" fmla="*/ 11968 h 1082799"/>
              <a:gd name="connsiteX240" fmla="*/ 495352 w 1532379"/>
              <a:gd name="connsiteY240" fmla="*/ 7205 h 1082799"/>
              <a:gd name="connsiteX241" fmla="*/ 452489 w 1532379"/>
              <a:gd name="connsiteY241" fmla="*/ 2443 h 1082799"/>
              <a:gd name="connsiteX242" fmla="*/ 426295 w 1532379"/>
              <a:gd name="connsiteY242" fmla="*/ 4824 h 1082799"/>
              <a:gd name="connsiteX243" fmla="*/ 152452 w 1532379"/>
              <a:gd name="connsiteY243" fmla="*/ 7205 h 1082799"/>
              <a:gd name="connsiteX244" fmla="*/ 150070 w 1532379"/>
              <a:gd name="connsiteY244" fmla="*/ 52449 h 1082799"/>
              <a:gd name="connsiteX245" fmla="*/ 142927 w 1532379"/>
              <a:gd name="connsiteY245" fmla="*/ 57211 h 1082799"/>
              <a:gd name="connsiteX246" fmla="*/ 135783 w 1532379"/>
              <a:gd name="connsiteY246" fmla="*/ 78643 h 1082799"/>
              <a:gd name="connsiteX247" fmla="*/ 140545 w 1532379"/>
              <a:gd name="connsiteY247" fmla="*/ 95311 h 1082799"/>
              <a:gd name="connsiteX248" fmla="*/ 140545 w 1532379"/>
              <a:gd name="connsiteY248" fmla="*/ 90549 h 108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</a:cxnLst>
            <a:rect l="l" t="t" r="r" b="b"/>
            <a:pathLst>
              <a:path w="1532379" h="1082799">
                <a:moveTo>
                  <a:pt x="142927" y="9586"/>
                </a:moveTo>
                <a:lnTo>
                  <a:pt x="142927" y="9586"/>
                </a:lnTo>
                <a:cubicBezTo>
                  <a:pt x="142133" y="48480"/>
                  <a:pt x="142012" y="87394"/>
                  <a:pt x="140545" y="126268"/>
                </a:cubicBezTo>
                <a:cubicBezTo>
                  <a:pt x="140032" y="139865"/>
                  <a:pt x="127657" y="148681"/>
                  <a:pt x="119114" y="157224"/>
                </a:cubicBezTo>
                <a:cubicBezTo>
                  <a:pt x="115564" y="160774"/>
                  <a:pt x="104827" y="161986"/>
                  <a:pt x="104827" y="161986"/>
                </a:cubicBezTo>
                <a:cubicBezTo>
                  <a:pt x="104033" y="164367"/>
                  <a:pt x="104220" y="167355"/>
                  <a:pt x="102445" y="169130"/>
                </a:cubicBezTo>
                <a:cubicBezTo>
                  <a:pt x="100670" y="170905"/>
                  <a:pt x="97547" y="170389"/>
                  <a:pt x="95302" y="171511"/>
                </a:cubicBezTo>
                <a:cubicBezTo>
                  <a:pt x="92742" y="172791"/>
                  <a:pt x="90539" y="174686"/>
                  <a:pt x="88158" y="176274"/>
                </a:cubicBezTo>
                <a:cubicBezTo>
                  <a:pt x="87364" y="178655"/>
                  <a:pt x="87345" y="181458"/>
                  <a:pt x="85777" y="183418"/>
                </a:cubicBezTo>
                <a:cubicBezTo>
                  <a:pt x="83989" y="185653"/>
                  <a:pt x="80832" y="186348"/>
                  <a:pt x="78633" y="188180"/>
                </a:cubicBezTo>
                <a:cubicBezTo>
                  <a:pt x="76046" y="190336"/>
                  <a:pt x="73870" y="192943"/>
                  <a:pt x="71489" y="195324"/>
                </a:cubicBezTo>
                <a:cubicBezTo>
                  <a:pt x="63706" y="218678"/>
                  <a:pt x="76325" y="185690"/>
                  <a:pt x="61964" y="207230"/>
                </a:cubicBezTo>
                <a:cubicBezTo>
                  <a:pt x="60149" y="209953"/>
                  <a:pt x="60482" y="213608"/>
                  <a:pt x="59583" y="216755"/>
                </a:cubicBezTo>
                <a:cubicBezTo>
                  <a:pt x="58893" y="219169"/>
                  <a:pt x="57996" y="221518"/>
                  <a:pt x="57202" y="223899"/>
                </a:cubicBezTo>
                <a:cubicBezTo>
                  <a:pt x="53391" y="265802"/>
                  <a:pt x="57936" y="237994"/>
                  <a:pt x="52439" y="257236"/>
                </a:cubicBezTo>
                <a:cubicBezTo>
                  <a:pt x="51540" y="260383"/>
                  <a:pt x="51682" y="263919"/>
                  <a:pt x="50058" y="266761"/>
                </a:cubicBezTo>
                <a:cubicBezTo>
                  <a:pt x="48387" y="269685"/>
                  <a:pt x="45106" y="271348"/>
                  <a:pt x="42914" y="273905"/>
                </a:cubicBezTo>
                <a:cubicBezTo>
                  <a:pt x="31099" y="287689"/>
                  <a:pt x="41202" y="279808"/>
                  <a:pt x="28627" y="288193"/>
                </a:cubicBezTo>
                <a:cubicBezTo>
                  <a:pt x="22637" y="306157"/>
                  <a:pt x="30719" y="284005"/>
                  <a:pt x="21483" y="302480"/>
                </a:cubicBezTo>
                <a:cubicBezTo>
                  <a:pt x="14592" y="316264"/>
                  <a:pt x="25499" y="303227"/>
                  <a:pt x="11958" y="316768"/>
                </a:cubicBezTo>
                <a:cubicBezTo>
                  <a:pt x="11164" y="319149"/>
                  <a:pt x="10267" y="321498"/>
                  <a:pt x="9577" y="323911"/>
                </a:cubicBezTo>
                <a:cubicBezTo>
                  <a:pt x="7332" y="331768"/>
                  <a:pt x="6453" y="337145"/>
                  <a:pt x="4814" y="345343"/>
                </a:cubicBezTo>
                <a:cubicBezTo>
                  <a:pt x="4020" y="358043"/>
                  <a:pt x="3373" y="370753"/>
                  <a:pt x="2433" y="383443"/>
                </a:cubicBezTo>
                <a:cubicBezTo>
                  <a:pt x="1785" y="392186"/>
                  <a:pt x="52" y="400869"/>
                  <a:pt x="52" y="409636"/>
                </a:cubicBezTo>
                <a:cubicBezTo>
                  <a:pt x="52" y="464411"/>
                  <a:pt x="-564" y="519250"/>
                  <a:pt x="2433" y="573943"/>
                </a:cubicBezTo>
                <a:cubicBezTo>
                  <a:pt x="2650" y="577906"/>
                  <a:pt x="6564" y="580885"/>
                  <a:pt x="9577" y="583468"/>
                </a:cubicBezTo>
                <a:cubicBezTo>
                  <a:pt x="12272" y="585778"/>
                  <a:pt x="16092" y="586349"/>
                  <a:pt x="19102" y="588230"/>
                </a:cubicBezTo>
                <a:cubicBezTo>
                  <a:pt x="22468" y="590333"/>
                  <a:pt x="25452" y="592993"/>
                  <a:pt x="28627" y="595374"/>
                </a:cubicBezTo>
                <a:cubicBezTo>
                  <a:pt x="44239" y="618795"/>
                  <a:pt x="31442" y="596916"/>
                  <a:pt x="35770" y="659668"/>
                </a:cubicBezTo>
                <a:cubicBezTo>
                  <a:pt x="36048" y="663706"/>
                  <a:pt x="37274" y="667623"/>
                  <a:pt x="38152" y="671574"/>
                </a:cubicBezTo>
                <a:cubicBezTo>
                  <a:pt x="40122" y="680440"/>
                  <a:pt x="41863" y="689240"/>
                  <a:pt x="50058" y="695386"/>
                </a:cubicBezTo>
                <a:lnTo>
                  <a:pt x="59583" y="702530"/>
                </a:lnTo>
                <a:cubicBezTo>
                  <a:pt x="67597" y="726577"/>
                  <a:pt x="55359" y="689249"/>
                  <a:pt x="64345" y="719199"/>
                </a:cubicBezTo>
                <a:cubicBezTo>
                  <a:pt x="66509" y="726412"/>
                  <a:pt x="69108" y="733486"/>
                  <a:pt x="71489" y="740630"/>
                </a:cubicBezTo>
                <a:lnTo>
                  <a:pt x="76252" y="754918"/>
                </a:lnTo>
                <a:cubicBezTo>
                  <a:pt x="77046" y="757299"/>
                  <a:pt x="77511" y="759816"/>
                  <a:pt x="78633" y="762061"/>
                </a:cubicBezTo>
                <a:cubicBezTo>
                  <a:pt x="80220" y="765236"/>
                  <a:pt x="81634" y="768504"/>
                  <a:pt x="83395" y="771586"/>
                </a:cubicBezTo>
                <a:cubicBezTo>
                  <a:pt x="84815" y="774071"/>
                  <a:pt x="86878" y="776170"/>
                  <a:pt x="88158" y="778730"/>
                </a:cubicBezTo>
                <a:cubicBezTo>
                  <a:pt x="98375" y="799164"/>
                  <a:pt x="87573" y="782468"/>
                  <a:pt x="97683" y="800161"/>
                </a:cubicBezTo>
                <a:cubicBezTo>
                  <a:pt x="100894" y="805780"/>
                  <a:pt x="105932" y="811710"/>
                  <a:pt x="109589" y="816830"/>
                </a:cubicBezTo>
                <a:cubicBezTo>
                  <a:pt x="111253" y="819159"/>
                  <a:pt x="112764" y="821593"/>
                  <a:pt x="114352" y="823974"/>
                </a:cubicBezTo>
                <a:cubicBezTo>
                  <a:pt x="119820" y="845850"/>
                  <a:pt x="111917" y="823311"/>
                  <a:pt x="123877" y="838261"/>
                </a:cubicBezTo>
                <a:cubicBezTo>
                  <a:pt x="125445" y="840221"/>
                  <a:pt x="125649" y="842970"/>
                  <a:pt x="126258" y="845405"/>
                </a:cubicBezTo>
                <a:cubicBezTo>
                  <a:pt x="127864" y="851828"/>
                  <a:pt x="128119" y="861553"/>
                  <a:pt x="133402" y="866836"/>
                </a:cubicBezTo>
                <a:cubicBezTo>
                  <a:pt x="135177" y="868611"/>
                  <a:pt x="138164" y="868424"/>
                  <a:pt x="140545" y="869218"/>
                </a:cubicBezTo>
                <a:lnTo>
                  <a:pt x="154833" y="890649"/>
                </a:lnTo>
                <a:cubicBezTo>
                  <a:pt x="156802" y="893602"/>
                  <a:pt x="157834" y="897092"/>
                  <a:pt x="159595" y="900174"/>
                </a:cubicBezTo>
                <a:cubicBezTo>
                  <a:pt x="161015" y="902659"/>
                  <a:pt x="162770" y="904937"/>
                  <a:pt x="164358" y="907318"/>
                </a:cubicBezTo>
                <a:cubicBezTo>
                  <a:pt x="164514" y="907940"/>
                  <a:pt x="167878" y="922433"/>
                  <a:pt x="169120" y="923986"/>
                </a:cubicBezTo>
                <a:cubicBezTo>
                  <a:pt x="170908" y="926221"/>
                  <a:pt x="173883" y="927161"/>
                  <a:pt x="176264" y="928749"/>
                </a:cubicBezTo>
                <a:cubicBezTo>
                  <a:pt x="177058" y="931924"/>
                  <a:pt x="177705" y="935139"/>
                  <a:pt x="178645" y="938274"/>
                </a:cubicBezTo>
                <a:cubicBezTo>
                  <a:pt x="180809" y="945487"/>
                  <a:pt x="183408" y="952561"/>
                  <a:pt x="185789" y="959705"/>
                </a:cubicBezTo>
                <a:cubicBezTo>
                  <a:pt x="187044" y="963470"/>
                  <a:pt x="192364" y="964194"/>
                  <a:pt x="195314" y="966849"/>
                </a:cubicBezTo>
                <a:cubicBezTo>
                  <a:pt x="200320" y="971355"/>
                  <a:pt x="204839" y="976374"/>
                  <a:pt x="209602" y="981136"/>
                </a:cubicBezTo>
                <a:cubicBezTo>
                  <a:pt x="211626" y="983160"/>
                  <a:pt x="214547" y="984067"/>
                  <a:pt x="216745" y="985899"/>
                </a:cubicBezTo>
                <a:cubicBezTo>
                  <a:pt x="219332" y="988055"/>
                  <a:pt x="221508" y="990662"/>
                  <a:pt x="223889" y="993043"/>
                </a:cubicBezTo>
                <a:cubicBezTo>
                  <a:pt x="224683" y="995424"/>
                  <a:pt x="224702" y="998226"/>
                  <a:pt x="226270" y="1000186"/>
                </a:cubicBezTo>
                <a:cubicBezTo>
                  <a:pt x="229628" y="1004384"/>
                  <a:pt x="235851" y="1005761"/>
                  <a:pt x="240558" y="1007330"/>
                </a:cubicBezTo>
                <a:cubicBezTo>
                  <a:pt x="242145" y="1009711"/>
                  <a:pt x="243166" y="1012589"/>
                  <a:pt x="245320" y="1014474"/>
                </a:cubicBezTo>
                <a:cubicBezTo>
                  <a:pt x="249628" y="1018243"/>
                  <a:pt x="259608" y="1023999"/>
                  <a:pt x="259608" y="1023999"/>
                </a:cubicBezTo>
                <a:cubicBezTo>
                  <a:pt x="261195" y="1026380"/>
                  <a:pt x="261989" y="1029555"/>
                  <a:pt x="264370" y="1031143"/>
                </a:cubicBezTo>
                <a:cubicBezTo>
                  <a:pt x="267093" y="1032958"/>
                  <a:pt x="270748" y="1032625"/>
                  <a:pt x="273895" y="1033524"/>
                </a:cubicBezTo>
                <a:cubicBezTo>
                  <a:pt x="297808" y="1040356"/>
                  <a:pt x="260788" y="1030843"/>
                  <a:pt x="290564" y="1038286"/>
                </a:cubicBezTo>
                <a:cubicBezTo>
                  <a:pt x="307970" y="1049891"/>
                  <a:pt x="286084" y="1035726"/>
                  <a:pt x="307233" y="1047811"/>
                </a:cubicBezTo>
                <a:cubicBezTo>
                  <a:pt x="309718" y="1049231"/>
                  <a:pt x="311817" y="1051294"/>
                  <a:pt x="314377" y="1052574"/>
                </a:cubicBezTo>
                <a:cubicBezTo>
                  <a:pt x="318200" y="1054486"/>
                  <a:pt x="322460" y="1055424"/>
                  <a:pt x="326283" y="1057336"/>
                </a:cubicBezTo>
                <a:cubicBezTo>
                  <a:pt x="328843" y="1058616"/>
                  <a:pt x="331228" y="1060267"/>
                  <a:pt x="333427" y="1062099"/>
                </a:cubicBezTo>
                <a:cubicBezTo>
                  <a:pt x="336014" y="1064255"/>
                  <a:pt x="337626" y="1067608"/>
                  <a:pt x="340570" y="1069243"/>
                </a:cubicBezTo>
                <a:cubicBezTo>
                  <a:pt x="344958" y="1071681"/>
                  <a:pt x="350095" y="1072418"/>
                  <a:pt x="354858" y="1074005"/>
                </a:cubicBezTo>
                <a:cubicBezTo>
                  <a:pt x="364676" y="1077277"/>
                  <a:pt x="375495" y="1075592"/>
                  <a:pt x="385814" y="1076386"/>
                </a:cubicBezTo>
                <a:cubicBezTo>
                  <a:pt x="410597" y="1084648"/>
                  <a:pt x="403867" y="1084354"/>
                  <a:pt x="442964" y="1078768"/>
                </a:cubicBezTo>
                <a:cubicBezTo>
                  <a:pt x="486233" y="1072587"/>
                  <a:pt x="417542" y="1074933"/>
                  <a:pt x="457252" y="1071624"/>
                </a:cubicBezTo>
                <a:cubicBezTo>
                  <a:pt x="473882" y="1070238"/>
                  <a:pt x="490589" y="1070037"/>
                  <a:pt x="507258" y="1069243"/>
                </a:cubicBezTo>
                <a:cubicBezTo>
                  <a:pt x="513827" y="1062674"/>
                  <a:pt x="514742" y="1062693"/>
                  <a:pt x="519164" y="1054955"/>
                </a:cubicBezTo>
                <a:cubicBezTo>
                  <a:pt x="520925" y="1051873"/>
                  <a:pt x="521654" y="1048157"/>
                  <a:pt x="523927" y="1045430"/>
                </a:cubicBezTo>
                <a:cubicBezTo>
                  <a:pt x="526989" y="1041755"/>
                  <a:pt x="533767" y="1039398"/>
                  <a:pt x="538214" y="1038286"/>
                </a:cubicBezTo>
                <a:cubicBezTo>
                  <a:pt x="542140" y="1037304"/>
                  <a:pt x="546169" y="1036783"/>
                  <a:pt x="550120" y="1035905"/>
                </a:cubicBezTo>
                <a:cubicBezTo>
                  <a:pt x="553315" y="1035195"/>
                  <a:pt x="556470" y="1034318"/>
                  <a:pt x="559645" y="1033524"/>
                </a:cubicBezTo>
                <a:cubicBezTo>
                  <a:pt x="561003" y="1029450"/>
                  <a:pt x="562834" y="1021873"/>
                  <a:pt x="566789" y="1019236"/>
                </a:cubicBezTo>
                <a:cubicBezTo>
                  <a:pt x="569512" y="1017421"/>
                  <a:pt x="573139" y="1017649"/>
                  <a:pt x="576314" y="1016855"/>
                </a:cubicBezTo>
                <a:cubicBezTo>
                  <a:pt x="587427" y="1000187"/>
                  <a:pt x="581077" y="1005743"/>
                  <a:pt x="592983" y="997805"/>
                </a:cubicBezTo>
                <a:cubicBezTo>
                  <a:pt x="594570" y="995424"/>
                  <a:pt x="595591" y="992546"/>
                  <a:pt x="597745" y="990661"/>
                </a:cubicBezTo>
                <a:cubicBezTo>
                  <a:pt x="602053" y="986892"/>
                  <a:pt x="612033" y="981136"/>
                  <a:pt x="612033" y="981136"/>
                </a:cubicBezTo>
                <a:cubicBezTo>
                  <a:pt x="612827" y="978755"/>
                  <a:pt x="613292" y="976238"/>
                  <a:pt x="614414" y="973993"/>
                </a:cubicBezTo>
                <a:cubicBezTo>
                  <a:pt x="615694" y="971433"/>
                  <a:pt x="618424" y="969610"/>
                  <a:pt x="619177" y="966849"/>
                </a:cubicBezTo>
                <a:cubicBezTo>
                  <a:pt x="620861" y="960675"/>
                  <a:pt x="619371" y="953813"/>
                  <a:pt x="621558" y="947799"/>
                </a:cubicBezTo>
                <a:cubicBezTo>
                  <a:pt x="623837" y="941532"/>
                  <a:pt x="630455" y="939744"/>
                  <a:pt x="635845" y="938274"/>
                </a:cubicBezTo>
                <a:cubicBezTo>
                  <a:pt x="642160" y="936552"/>
                  <a:pt x="648545" y="935099"/>
                  <a:pt x="654895" y="933511"/>
                </a:cubicBezTo>
                <a:cubicBezTo>
                  <a:pt x="657330" y="932902"/>
                  <a:pt x="659635" y="931851"/>
                  <a:pt x="662039" y="931130"/>
                </a:cubicBezTo>
                <a:cubicBezTo>
                  <a:pt x="667574" y="929470"/>
                  <a:pt x="673152" y="927955"/>
                  <a:pt x="678708" y="926368"/>
                </a:cubicBezTo>
                <a:cubicBezTo>
                  <a:pt x="681089" y="924780"/>
                  <a:pt x="684064" y="923840"/>
                  <a:pt x="685852" y="921605"/>
                </a:cubicBezTo>
                <a:cubicBezTo>
                  <a:pt x="687420" y="919645"/>
                  <a:pt x="686841" y="916550"/>
                  <a:pt x="688233" y="914461"/>
                </a:cubicBezTo>
                <a:cubicBezTo>
                  <a:pt x="690101" y="911659"/>
                  <a:pt x="692996" y="909699"/>
                  <a:pt x="695377" y="907318"/>
                </a:cubicBezTo>
                <a:cubicBezTo>
                  <a:pt x="693789" y="891443"/>
                  <a:pt x="693348" y="875411"/>
                  <a:pt x="690614" y="859693"/>
                </a:cubicBezTo>
                <a:cubicBezTo>
                  <a:pt x="690124" y="856873"/>
                  <a:pt x="686979" y="855179"/>
                  <a:pt x="685852" y="852549"/>
                </a:cubicBezTo>
                <a:cubicBezTo>
                  <a:pt x="684563" y="849541"/>
                  <a:pt x="684759" y="846032"/>
                  <a:pt x="683470" y="843024"/>
                </a:cubicBezTo>
                <a:cubicBezTo>
                  <a:pt x="682343" y="840394"/>
                  <a:pt x="679988" y="838440"/>
                  <a:pt x="678708" y="835880"/>
                </a:cubicBezTo>
                <a:cubicBezTo>
                  <a:pt x="676796" y="832057"/>
                  <a:pt x="675533" y="827943"/>
                  <a:pt x="673945" y="823974"/>
                </a:cubicBezTo>
                <a:cubicBezTo>
                  <a:pt x="672848" y="816291"/>
                  <a:pt x="671556" y="800148"/>
                  <a:pt x="666802" y="793018"/>
                </a:cubicBezTo>
                <a:cubicBezTo>
                  <a:pt x="665214" y="790637"/>
                  <a:pt x="664420" y="787462"/>
                  <a:pt x="662039" y="785874"/>
                </a:cubicBezTo>
                <a:cubicBezTo>
                  <a:pt x="659316" y="784059"/>
                  <a:pt x="655689" y="784287"/>
                  <a:pt x="652514" y="783493"/>
                </a:cubicBezTo>
                <a:cubicBezTo>
                  <a:pt x="653308" y="727930"/>
                  <a:pt x="651813" y="672288"/>
                  <a:pt x="654895" y="616805"/>
                </a:cubicBezTo>
                <a:cubicBezTo>
                  <a:pt x="655054" y="613948"/>
                  <a:pt x="660015" y="614067"/>
                  <a:pt x="662039" y="612043"/>
                </a:cubicBezTo>
                <a:cubicBezTo>
                  <a:pt x="664063" y="610019"/>
                  <a:pt x="664421" y="606487"/>
                  <a:pt x="666802" y="604899"/>
                </a:cubicBezTo>
                <a:cubicBezTo>
                  <a:pt x="669525" y="603084"/>
                  <a:pt x="673180" y="603417"/>
                  <a:pt x="676327" y="602518"/>
                </a:cubicBezTo>
                <a:cubicBezTo>
                  <a:pt x="678740" y="601828"/>
                  <a:pt x="681057" y="600826"/>
                  <a:pt x="683470" y="600136"/>
                </a:cubicBezTo>
                <a:cubicBezTo>
                  <a:pt x="686617" y="599237"/>
                  <a:pt x="689848" y="598654"/>
                  <a:pt x="692995" y="597755"/>
                </a:cubicBezTo>
                <a:cubicBezTo>
                  <a:pt x="695409" y="597065"/>
                  <a:pt x="697832" y="596363"/>
                  <a:pt x="700139" y="595374"/>
                </a:cubicBezTo>
                <a:cubicBezTo>
                  <a:pt x="703402" y="593976"/>
                  <a:pt x="706239" y="591545"/>
                  <a:pt x="709664" y="590611"/>
                </a:cubicBezTo>
                <a:cubicBezTo>
                  <a:pt x="715079" y="589134"/>
                  <a:pt x="720777" y="589024"/>
                  <a:pt x="726333" y="588230"/>
                </a:cubicBezTo>
                <a:cubicBezTo>
                  <a:pt x="743083" y="582647"/>
                  <a:pt x="722410" y="589912"/>
                  <a:pt x="743002" y="581086"/>
                </a:cubicBezTo>
                <a:cubicBezTo>
                  <a:pt x="745309" y="580097"/>
                  <a:pt x="747838" y="579694"/>
                  <a:pt x="750145" y="578705"/>
                </a:cubicBezTo>
                <a:cubicBezTo>
                  <a:pt x="770751" y="569875"/>
                  <a:pt x="750054" y="577149"/>
                  <a:pt x="766814" y="571561"/>
                </a:cubicBezTo>
                <a:cubicBezTo>
                  <a:pt x="778643" y="553821"/>
                  <a:pt x="763437" y="575615"/>
                  <a:pt x="778720" y="557274"/>
                </a:cubicBezTo>
                <a:cubicBezTo>
                  <a:pt x="780552" y="555075"/>
                  <a:pt x="781102" y="551718"/>
                  <a:pt x="783483" y="550130"/>
                </a:cubicBezTo>
                <a:cubicBezTo>
                  <a:pt x="786206" y="548315"/>
                  <a:pt x="789833" y="548543"/>
                  <a:pt x="793008" y="547749"/>
                </a:cubicBezTo>
                <a:cubicBezTo>
                  <a:pt x="793802" y="545368"/>
                  <a:pt x="793346" y="542064"/>
                  <a:pt x="795389" y="540605"/>
                </a:cubicBezTo>
                <a:cubicBezTo>
                  <a:pt x="799474" y="537687"/>
                  <a:pt x="809677" y="535843"/>
                  <a:pt x="809677" y="535843"/>
                </a:cubicBezTo>
                <a:cubicBezTo>
                  <a:pt x="824152" y="526191"/>
                  <a:pt x="808772" y="535289"/>
                  <a:pt x="826345" y="528699"/>
                </a:cubicBezTo>
                <a:cubicBezTo>
                  <a:pt x="829669" y="527453"/>
                  <a:pt x="832348" y="524376"/>
                  <a:pt x="835870" y="523936"/>
                </a:cubicBezTo>
                <a:cubicBezTo>
                  <a:pt x="851642" y="521964"/>
                  <a:pt x="867620" y="522349"/>
                  <a:pt x="883495" y="521555"/>
                </a:cubicBezTo>
                <a:cubicBezTo>
                  <a:pt x="907686" y="516718"/>
                  <a:pt x="885471" y="521672"/>
                  <a:pt x="902545" y="516793"/>
                </a:cubicBezTo>
                <a:cubicBezTo>
                  <a:pt x="923483" y="510810"/>
                  <a:pt x="902079" y="517741"/>
                  <a:pt x="919214" y="512030"/>
                </a:cubicBezTo>
                <a:cubicBezTo>
                  <a:pt x="920802" y="509649"/>
                  <a:pt x="921742" y="506674"/>
                  <a:pt x="923977" y="504886"/>
                </a:cubicBezTo>
                <a:cubicBezTo>
                  <a:pt x="925937" y="503318"/>
                  <a:pt x="928875" y="503627"/>
                  <a:pt x="931120" y="502505"/>
                </a:cubicBezTo>
                <a:cubicBezTo>
                  <a:pt x="933680" y="501225"/>
                  <a:pt x="935883" y="499330"/>
                  <a:pt x="938264" y="497743"/>
                </a:cubicBezTo>
                <a:cubicBezTo>
                  <a:pt x="943625" y="481657"/>
                  <a:pt x="936190" y="499092"/>
                  <a:pt x="947789" y="485836"/>
                </a:cubicBezTo>
                <a:cubicBezTo>
                  <a:pt x="967236" y="463611"/>
                  <a:pt x="948384" y="477503"/>
                  <a:pt x="964458" y="466786"/>
                </a:cubicBezTo>
                <a:cubicBezTo>
                  <a:pt x="966328" y="463046"/>
                  <a:pt x="970614" y="453486"/>
                  <a:pt x="973983" y="450118"/>
                </a:cubicBezTo>
                <a:cubicBezTo>
                  <a:pt x="976007" y="448094"/>
                  <a:pt x="978746" y="446943"/>
                  <a:pt x="981127" y="445355"/>
                </a:cubicBezTo>
                <a:cubicBezTo>
                  <a:pt x="982714" y="442974"/>
                  <a:pt x="983508" y="439799"/>
                  <a:pt x="985889" y="438211"/>
                </a:cubicBezTo>
                <a:cubicBezTo>
                  <a:pt x="988612" y="436396"/>
                  <a:pt x="992159" y="436173"/>
                  <a:pt x="995414" y="435830"/>
                </a:cubicBezTo>
                <a:cubicBezTo>
                  <a:pt x="1007281" y="434581"/>
                  <a:pt x="1019227" y="434243"/>
                  <a:pt x="1031133" y="433449"/>
                </a:cubicBezTo>
                <a:cubicBezTo>
                  <a:pt x="1033514" y="432655"/>
                  <a:pt x="1036296" y="432609"/>
                  <a:pt x="1038277" y="431068"/>
                </a:cubicBezTo>
                <a:cubicBezTo>
                  <a:pt x="1043593" y="426933"/>
                  <a:pt x="1047802" y="421543"/>
                  <a:pt x="1052564" y="416780"/>
                </a:cubicBezTo>
                <a:cubicBezTo>
                  <a:pt x="1076727" y="392616"/>
                  <a:pt x="1039767" y="418962"/>
                  <a:pt x="1064470" y="402493"/>
                </a:cubicBezTo>
                <a:cubicBezTo>
                  <a:pt x="1072018" y="391172"/>
                  <a:pt x="1068328" y="398064"/>
                  <a:pt x="1073995" y="381061"/>
                </a:cubicBezTo>
                <a:cubicBezTo>
                  <a:pt x="1075738" y="375832"/>
                  <a:pt x="1080255" y="368964"/>
                  <a:pt x="1083520" y="364393"/>
                </a:cubicBezTo>
                <a:cubicBezTo>
                  <a:pt x="1085827" y="361163"/>
                  <a:pt x="1087615" y="357409"/>
                  <a:pt x="1090664" y="354868"/>
                </a:cubicBezTo>
                <a:cubicBezTo>
                  <a:pt x="1092592" y="353261"/>
                  <a:pt x="1095427" y="353280"/>
                  <a:pt x="1097808" y="352486"/>
                </a:cubicBezTo>
                <a:cubicBezTo>
                  <a:pt x="1100189" y="350105"/>
                  <a:pt x="1102150" y="347211"/>
                  <a:pt x="1104952" y="345343"/>
                </a:cubicBezTo>
                <a:cubicBezTo>
                  <a:pt x="1107040" y="343951"/>
                  <a:pt x="1110320" y="344736"/>
                  <a:pt x="1112095" y="342961"/>
                </a:cubicBezTo>
                <a:cubicBezTo>
                  <a:pt x="1131197" y="323858"/>
                  <a:pt x="1112600" y="331680"/>
                  <a:pt x="1128764" y="326293"/>
                </a:cubicBezTo>
                <a:cubicBezTo>
                  <a:pt x="1129558" y="323912"/>
                  <a:pt x="1129577" y="321109"/>
                  <a:pt x="1131145" y="319149"/>
                </a:cubicBezTo>
                <a:cubicBezTo>
                  <a:pt x="1137711" y="310941"/>
                  <a:pt x="1143219" y="315208"/>
                  <a:pt x="1152577" y="316768"/>
                </a:cubicBezTo>
                <a:cubicBezTo>
                  <a:pt x="1189909" y="341656"/>
                  <a:pt x="1132356" y="304193"/>
                  <a:pt x="1166864" y="323911"/>
                </a:cubicBezTo>
                <a:cubicBezTo>
                  <a:pt x="1170310" y="325880"/>
                  <a:pt x="1172762" y="329443"/>
                  <a:pt x="1176389" y="331055"/>
                </a:cubicBezTo>
                <a:cubicBezTo>
                  <a:pt x="1180087" y="332699"/>
                  <a:pt x="1184344" y="332558"/>
                  <a:pt x="1188295" y="333436"/>
                </a:cubicBezTo>
                <a:cubicBezTo>
                  <a:pt x="1222332" y="341001"/>
                  <a:pt x="1166302" y="334606"/>
                  <a:pt x="1259733" y="338199"/>
                </a:cubicBezTo>
                <a:lnTo>
                  <a:pt x="1274020" y="342961"/>
                </a:lnTo>
                <a:cubicBezTo>
                  <a:pt x="1280058" y="344974"/>
                  <a:pt x="1285466" y="349004"/>
                  <a:pt x="1290689" y="352486"/>
                </a:cubicBezTo>
                <a:cubicBezTo>
                  <a:pt x="1301844" y="369217"/>
                  <a:pt x="1291973" y="358257"/>
                  <a:pt x="1328789" y="364393"/>
                </a:cubicBezTo>
                <a:cubicBezTo>
                  <a:pt x="1334770" y="365390"/>
                  <a:pt x="1339795" y="367268"/>
                  <a:pt x="1345458" y="369155"/>
                </a:cubicBezTo>
                <a:cubicBezTo>
                  <a:pt x="1347045" y="372330"/>
                  <a:pt x="1349948" y="375141"/>
                  <a:pt x="1350220" y="378680"/>
                </a:cubicBezTo>
                <a:cubicBezTo>
                  <a:pt x="1351226" y="391764"/>
                  <a:pt x="1346577" y="404528"/>
                  <a:pt x="1343077" y="416780"/>
                </a:cubicBezTo>
                <a:cubicBezTo>
                  <a:pt x="1343871" y="432655"/>
                  <a:pt x="1341776" y="448942"/>
                  <a:pt x="1345458" y="464405"/>
                </a:cubicBezTo>
                <a:cubicBezTo>
                  <a:pt x="1346216" y="467589"/>
                  <a:pt x="1352208" y="465052"/>
                  <a:pt x="1354983" y="466786"/>
                </a:cubicBezTo>
                <a:cubicBezTo>
                  <a:pt x="1358791" y="469166"/>
                  <a:pt x="1361333" y="473136"/>
                  <a:pt x="1364508" y="476311"/>
                </a:cubicBezTo>
                <a:cubicBezTo>
                  <a:pt x="1369399" y="490985"/>
                  <a:pt x="1364890" y="476038"/>
                  <a:pt x="1369270" y="500124"/>
                </a:cubicBezTo>
                <a:cubicBezTo>
                  <a:pt x="1369856" y="503344"/>
                  <a:pt x="1369750" y="506986"/>
                  <a:pt x="1371652" y="509649"/>
                </a:cubicBezTo>
                <a:cubicBezTo>
                  <a:pt x="1373959" y="512878"/>
                  <a:pt x="1378002" y="514412"/>
                  <a:pt x="1381177" y="516793"/>
                </a:cubicBezTo>
                <a:cubicBezTo>
                  <a:pt x="1383558" y="520762"/>
                  <a:pt x="1385753" y="524848"/>
                  <a:pt x="1388320" y="528699"/>
                </a:cubicBezTo>
                <a:cubicBezTo>
                  <a:pt x="1390521" y="532001"/>
                  <a:pt x="1393495" y="534778"/>
                  <a:pt x="1395464" y="538224"/>
                </a:cubicBezTo>
                <a:cubicBezTo>
                  <a:pt x="1401822" y="549351"/>
                  <a:pt x="1392163" y="542536"/>
                  <a:pt x="1404989" y="552511"/>
                </a:cubicBezTo>
                <a:cubicBezTo>
                  <a:pt x="1409507" y="556025"/>
                  <a:pt x="1419277" y="562036"/>
                  <a:pt x="1419277" y="562036"/>
                </a:cubicBezTo>
                <a:cubicBezTo>
                  <a:pt x="1421213" y="567845"/>
                  <a:pt x="1421805" y="571709"/>
                  <a:pt x="1426420" y="576324"/>
                </a:cubicBezTo>
                <a:cubicBezTo>
                  <a:pt x="1428444" y="578348"/>
                  <a:pt x="1431183" y="579499"/>
                  <a:pt x="1433564" y="581086"/>
                </a:cubicBezTo>
                <a:cubicBezTo>
                  <a:pt x="1439913" y="600137"/>
                  <a:pt x="1430389" y="577911"/>
                  <a:pt x="1443089" y="590611"/>
                </a:cubicBezTo>
                <a:cubicBezTo>
                  <a:pt x="1444864" y="592386"/>
                  <a:pt x="1444780" y="595341"/>
                  <a:pt x="1445470" y="597755"/>
                </a:cubicBezTo>
                <a:cubicBezTo>
                  <a:pt x="1451451" y="618686"/>
                  <a:pt x="1444524" y="597295"/>
                  <a:pt x="1450233" y="614424"/>
                </a:cubicBezTo>
                <a:cubicBezTo>
                  <a:pt x="1449439" y="616805"/>
                  <a:pt x="1449244" y="619479"/>
                  <a:pt x="1447852" y="621568"/>
                </a:cubicBezTo>
                <a:cubicBezTo>
                  <a:pt x="1445984" y="624370"/>
                  <a:pt x="1441773" y="625516"/>
                  <a:pt x="1440708" y="628711"/>
                </a:cubicBezTo>
                <a:lnTo>
                  <a:pt x="1443089" y="635855"/>
                </a:lnTo>
                <a:cubicBezTo>
                  <a:pt x="1437373" y="653004"/>
                  <a:pt x="1444315" y="631567"/>
                  <a:pt x="1438327" y="652524"/>
                </a:cubicBezTo>
                <a:cubicBezTo>
                  <a:pt x="1437637" y="654938"/>
                  <a:pt x="1436739" y="657287"/>
                  <a:pt x="1435945" y="659668"/>
                </a:cubicBezTo>
                <a:cubicBezTo>
                  <a:pt x="1436753" y="672590"/>
                  <a:pt x="1431663" y="693485"/>
                  <a:pt x="1443089" y="704911"/>
                </a:cubicBezTo>
                <a:cubicBezTo>
                  <a:pt x="1445113" y="706935"/>
                  <a:pt x="1447852" y="708086"/>
                  <a:pt x="1450233" y="709674"/>
                </a:cubicBezTo>
                <a:cubicBezTo>
                  <a:pt x="1462139" y="708880"/>
                  <a:pt x="1474292" y="709828"/>
                  <a:pt x="1485952" y="707293"/>
                </a:cubicBezTo>
                <a:cubicBezTo>
                  <a:pt x="1492889" y="705785"/>
                  <a:pt x="1505002" y="697768"/>
                  <a:pt x="1505002" y="697768"/>
                </a:cubicBezTo>
                <a:cubicBezTo>
                  <a:pt x="1508516" y="692496"/>
                  <a:pt x="1511407" y="687147"/>
                  <a:pt x="1516908" y="683480"/>
                </a:cubicBezTo>
                <a:cubicBezTo>
                  <a:pt x="1518997" y="682088"/>
                  <a:pt x="1521671" y="681893"/>
                  <a:pt x="1524052" y="681099"/>
                </a:cubicBezTo>
                <a:cubicBezTo>
                  <a:pt x="1525639" y="678718"/>
                  <a:pt x="1527534" y="676515"/>
                  <a:pt x="1528814" y="673955"/>
                </a:cubicBezTo>
                <a:cubicBezTo>
                  <a:pt x="1536519" y="658543"/>
                  <a:pt x="1529432" y="626187"/>
                  <a:pt x="1528814" y="619186"/>
                </a:cubicBezTo>
                <a:cubicBezTo>
                  <a:pt x="1525924" y="586431"/>
                  <a:pt x="1529698" y="594318"/>
                  <a:pt x="1519289" y="578705"/>
                </a:cubicBezTo>
                <a:cubicBezTo>
                  <a:pt x="1518495" y="562830"/>
                  <a:pt x="1518228" y="546920"/>
                  <a:pt x="1516908" y="531080"/>
                </a:cubicBezTo>
                <a:cubicBezTo>
                  <a:pt x="1516636" y="527819"/>
                  <a:pt x="1515065" y="524783"/>
                  <a:pt x="1514527" y="521555"/>
                </a:cubicBezTo>
                <a:cubicBezTo>
                  <a:pt x="1513475" y="515243"/>
                  <a:pt x="1513829" y="508679"/>
                  <a:pt x="1512145" y="502505"/>
                </a:cubicBezTo>
                <a:cubicBezTo>
                  <a:pt x="1510901" y="497944"/>
                  <a:pt x="1503069" y="491048"/>
                  <a:pt x="1500239" y="488218"/>
                </a:cubicBezTo>
                <a:cubicBezTo>
                  <a:pt x="1498652" y="485043"/>
                  <a:pt x="1496875" y="481956"/>
                  <a:pt x="1495477" y="478693"/>
                </a:cubicBezTo>
                <a:cubicBezTo>
                  <a:pt x="1494488" y="476386"/>
                  <a:pt x="1494702" y="473477"/>
                  <a:pt x="1493095" y="471549"/>
                </a:cubicBezTo>
                <a:cubicBezTo>
                  <a:pt x="1490554" y="468500"/>
                  <a:pt x="1486745" y="466786"/>
                  <a:pt x="1483570" y="464405"/>
                </a:cubicBezTo>
                <a:cubicBezTo>
                  <a:pt x="1476137" y="442102"/>
                  <a:pt x="1488314" y="475087"/>
                  <a:pt x="1474045" y="450118"/>
                </a:cubicBezTo>
                <a:cubicBezTo>
                  <a:pt x="1464581" y="433557"/>
                  <a:pt x="1479974" y="446134"/>
                  <a:pt x="1464520" y="435830"/>
                </a:cubicBezTo>
                <a:cubicBezTo>
                  <a:pt x="1462933" y="433449"/>
                  <a:pt x="1461038" y="431246"/>
                  <a:pt x="1459758" y="428686"/>
                </a:cubicBezTo>
                <a:cubicBezTo>
                  <a:pt x="1458636" y="426441"/>
                  <a:pt x="1457847" y="424008"/>
                  <a:pt x="1457377" y="421543"/>
                </a:cubicBezTo>
                <a:cubicBezTo>
                  <a:pt x="1454667" y="407314"/>
                  <a:pt x="1452614" y="392968"/>
                  <a:pt x="1450233" y="378680"/>
                </a:cubicBezTo>
                <a:cubicBezTo>
                  <a:pt x="1449820" y="376204"/>
                  <a:pt x="1448397" y="373986"/>
                  <a:pt x="1447852" y="371536"/>
                </a:cubicBezTo>
                <a:cubicBezTo>
                  <a:pt x="1446848" y="367019"/>
                  <a:pt x="1446065" y="355463"/>
                  <a:pt x="1443089" y="350105"/>
                </a:cubicBezTo>
                <a:cubicBezTo>
                  <a:pt x="1440309" y="345102"/>
                  <a:pt x="1433564" y="335818"/>
                  <a:pt x="1433564" y="335818"/>
                </a:cubicBezTo>
                <a:cubicBezTo>
                  <a:pt x="1427579" y="317862"/>
                  <a:pt x="1435652" y="339995"/>
                  <a:pt x="1426420" y="321530"/>
                </a:cubicBezTo>
                <a:cubicBezTo>
                  <a:pt x="1425297" y="319285"/>
                  <a:pt x="1425607" y="316346"/>
                  <a:pt x="1424039" y="314386"/>
                </a:cubicBezTo>
                <a:cubicBezTo>
                  <a:pt x="1422251" y="312151"/>
                  <a:pt x="1419276" y="311211"/>
                  <a:pt x="1416895" y="309624"/>
                </a:cubicBezTo>
                <a:cubicBezTo>
                  <a:pt x="1410731" y="291129"/>
                  <a:pt x="1416812" y="311300"/>
                  <a:pt x="1412133" y="271524"/>
                </a:cubicBezTo>
                <a:cubicBezTo>
                  <a:pt x="1411751" y="268274"/>
                  <a:pt x="1410546" y="265174"/>
                  <a:pt x="1409752" y="261999"/>
                </a:cubicBezTo>
                <a:cubicBezTo>
                  <a:pt x="1408958" y="254061"/>
                  <a:pt x="1409164" y="245959"/>
                  <a:pt x="1407370" y="238186"/>
                </a:cubicBezTo>
                <a:cubicBezTo>
                  <a:pt x="1406727" y="235398"/>
                  <a:pt x="1403735" y="233673"/>
                  <a:pt x="1402608" y="231043"/>
                </a:cubicBezTo>
                <a:cubicBezTo>
                  <a:pt x="1401270" y="227920"/>
                  <a:pt x="1398365" y="211952"/>
                  <a:pt x="1397845" y="209611"/>
                </a:cubicBezTo>
                <a:cubicBezTo>
                  <a:pt x="1397135" y="206416"/>
                  <a:pt x="1396049" y="203306"/>
                  <a:pt x="1395464" y="200086"/>
                </a:cubicBezTo>
                <a:cubicBezTo>
                  <a:pt x="1394460" y="194564"/>
                  <a:pt x="1394184" y="188921"/>
                  <a:pt x="1393083" y="183418"/>
                </a:cubicBezTo>
                <a:cubicBezTo>
                  <a:pt x="1392591" y="180957"/>
                  <a:pt x="1392896" y="177493"/>
                  <a:pt x="1390702" y="176274"/>
                </a:cubicBezTo>
                <a:cubicBezTo>
                  <a:pt x="1382887" y="171932"/>
                  <a:pt x="1372619" y="173186"/>
                  <a:pt x="1364508" y="169130"/>
                </a:cubicBezTo>
                <a:cubicBezTo>
                  <a:pt x="1358118" y="165935"/>
                  <a:pt x="1348657" y="159626"/>
                  <a:pt x="1343077" y="154843"/>
                </a:cubicBezTo>
                <a:cubicBezTo>
                  <a:pt x="1340520" y="152651"/>
                  <a:pt x="1338673" y="149657"/>
                  <a:pt x="1335933" y="147699"/>
                </a:cubicBezTo>
                <a:cubicBezTo>
                  <a:pt x="1333044" y="145636"/>
                  <a:pt x="1329583" y="144524"/>
                  <a:pt x="1326408" y="142936"/>
                </a:cubicBezTo>
                <a:cubicBezTo>
                  <a:pt x="1314801" y="125529"/>
                  <a:pt x="1330251" y="146141"/>
                  <a:pt x="1312120" y="131030"/>
                </a:cubicBezTo>
                <a:cubicBezTo>
                  <a:pt x="1309922" y="129198"/>
                  <a:pt x="1309593" y="125674"/>
                  <a:pt x="1307358" y="123886"/>
                </a:cubicBezTo>
                <a:cubicBezTo>
                  <a:pt x="1305398" y="122318"/>
                  <a:pt x="1302628" y="122195"/>
                  <a:pt x="1300214" y="121505"/>
                </a:cubicBezTo>
                <a:cubicBezTo>
                  <a:pt x="1279283" y="115526"/>
                  <a:pt x="1300674" y="122452"/>
                  <a:pt x="1283545" y="116743"/>
                </a:cubicBezTo>
                <a:cubicBezTo>
                  <a:pt x="1280370" y="114362"/>
                  <a:pt x="1277466" y="111568"/>
                  <a:pt x="1274020" y="109599"/>
                </a:cubicBezTo>
                <a:cubicBezTo>
                  <a:pt x="1271841" y="108354"/>
                  <a:pt x="1269184" y="108207"/>
                  <a:pt x="1266877" y="107218"/>
                </a:cubicBezTo>
                <a:cubicBezTo>
                  <a:pt x="1263614" y="105820"/>
                  <a:pt x="1260527" y="104043"/>
                  <a:pt x="1257352" y="102455"/>
                </a:cubicBezTo>
                <a:cubicBezTo>
                  <a:pt x="1253837" y="97182"/>
                  <a:pt x="1250947" y="91836"/>
                  <a:pt x="1245445" y="88168"/>
                </a:cubicBezTo>
                <a:cubicBezTo>
                  <a:pt x="1243357" y="86776"/>
                  <a:pt x="1240683" y="86580"/>
                  <a:pt x="1238302" y="85786"/>
                </a:cubicBezTo>
                <a:cubicBezTo>
                  <a:pt x="1227385" y="69410"/>
                  <a:pt x="1234207" y="73309"/>
                  <a:pt x="1221633" y="69118"/>
                </a:cubicBezTo>
                <a:cubicBezTo>
                  <a:pt x="1220839" y="66737"/>
                  <a:pt x="1221295" y="63433"/>
                  <a:pt x="1219252" y="61974"/>
                </a:cubicBezTo>
                <a:cubicBezTo>
                  <a:pt x="1215167" y="59056"/>
                  <a:pt x="1204964" y="57211"/>
                  <a:pt x="1204964" y="57211"/>
                </a:cubicBezTo>
                <a:lnTo>
                  <a:pt x="776339" y="61974"/>
                </a:lnTo>
                <a:cubicBezTo>
                  <a:pt x="769949" y="62327"/>
                  <a:pt x="776557" y="75176"/>
                  <a:pt x="773958" y="81024"/>
                </a:cubicBezTo>
                <a:cubicBezTo>
                  <a:pt x="772939" y="83318"/>
                  <a:pt x="769195" y="82611"/>
                  <a:pt x="766814" y="83405"/>
                </a:cubicBezTo>
                <a:lnTo>
                  <a:pt x="619177" y="81024"/>
                </a:lnTo>
                <a:cubicBezTo>
                  <a:pt x="613468" y="80604"/>
                  <a:pt x="604889" y="71499"/>
                  <a:pt x="604889" y="71499"/>
                </a:cubicBezTo>
                <a:lnTo>
                  <a:pt x="600127" y="57211"/>
                </a:lnTo>
                <a:cubicBezTo>
                  <a:pt x="598540" y="52448"/>
                  <a:pt x="590602" y="54036"/>
                  <a:pt x="585839" y="52449"/>
                </a:cubicBezTo>
                <a:cubicBezTo>
                  <a:pt x="579020" y="50176"/>
                  <a:pt x="571552" y="50862"/>
                  <a:pt x="564408" y="50068"/>
                </a:cubicBezTo>
                <a:cubicBezTo>
                  <a:pt x="561233" y="48480"/>
                  <a:pt x="558146" y="46703"/>
                  <a:pt x="554883" y="45305"/>
                </a:cubicBezTo>
                <a:cubicBezTo>
                  <a:pt x="552576" y="44316"/>
                  <a:pt x="549699" y="44492"/>
                  <a:pt x="547739" y="42924"/>
                </a:cubicBezTo>
                <a:cubicBezTo>
                  <a:pt x="543049" y="39172"/>
                  <a:pt x="541726" y="30469"/>
                  <a:pt x="538214" y="26255"/>
                </a:cubicBezTo>
                <a:cubicBezTo>
                  <a:pt x="536382" y="24057"/>
                  <a:pt x="533630" y="22773"/>
                  <a:pt x="531070" y="21493"/>
                </a:cubicBezTo>
                <a:cubicBezTo>
                  <a:pt x="526476" y="19196"/>
                  <a:pt x="518991" y="18259"/>
                  <a:pt x="514402" y="16730"/>
                </a:cubicBezTo>
                <a:cubicBezTo>
                  <a:pt x="510347" y="15378"/>
                  <a:pt x="506318" y="13880"/>
                  <a:pt x="502495" y="11968"/>
                </a:cubicBezTo>
                <a:cubicBezTo>
                  <a:pt x="499935" y="10688"/>
                  <a:pt x="498032" y="8210"/>
                  <a:pt x="495352" y="7205"/>
                </a:cubicBezTo>
                <a:cubicBezTo>
                  <a:pt x="486248" y="3791"/>
                  <a:pt x="454366" y="2587"/>
                  <a:pt x="452489" y="2443"/>
                </a:cubicBezTo>
                <a:cubicBezTo>
                  <a:pt x="443758" y="3237"/>
                  <a:pt x="435061" y="4685"/>
                  <a:pt x="426295" y="4824"/>
                </a:cubicBezTo>
                <a:cubicBezTo>
                  <a:pt x="335022" y="6273"/>
                  <a:pt x="242409" y="-8305"/>
                  <a:pt x="152452" y="7205"/>
                </a:cubicBezTo>
                <a:cubicBezTo>
                  <a:pt x="137569" y="9771"/>
                  <a:pt x="152896" y="37614"/>
                  <a:pt x="150070" y="52449"/>
                </a:cubicBezTo>
                <a:cubicBezTo>
                  <a:pt x="149535" y="55260"/>
                  <a:pt x="145308" y="55624"/>
                  <a:pt x="142927" y="57211"/>
                </a:cubicBezTo>
                <a:lnTo>
                  <a:pt x="135783" y="78643"/>
                </a:lnTo>
                <a:lnTo>
                  <a:pt x="140545" y="95311"/>
                </a:lnTo>
                <a:lnTo>
                  <a:pt x="140545" y="90549"/>
                </a:lnTo>
              </a:path>
            </a:pathLst>
          </a:cu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62" name="Freeform 1961"/>
          <p:cNvSpPr/>
          <p:nvPr/>
        </p:nvSpPr>
        <p:spPr>
          <a:xfrm rot="21088759">
            <a:off x="7117370" y="2802074"/>
            <a:ext cx="312398" cy="361950"/>
          </a:xfrm>
          <a:custGeom>
            <a:avLst/>
            <a:gdLst>
              <a:gd name="connsiteX0" fmla="*/ 66891 w 312398"/>
              <a:gd name="connsiteY0" fmla="*/ 28575 h 361950"/>
              <a:gd name="connsiteX1" fmla="*/ 66891 w 312398"/>
              <a:gd name="connsiteY1" fmla="*/ 28575 h 361950"/>
              <a:gd name="connsiteX2" fmla="*/ 52604 w 312398"/>
              <a:gd name="connsiteY2" fmla="*/ 11906 h 361950"/>
              <a:gd name="connsiteX3" fmla="*/ 40698 w 312398"/>
              <a:gd name="connsiteY3" fmla="*/ 0 h 361950"/>
              <a:gd name="connsiteX4" fmla="*/ 40698 w 312398"/>
              <a:gd name="connsiteY4" fmla="*/ 57150 h 361950"/>
              <a:gd name="connsiteX5" fmla="*/ 38316 w 312398"/>
              <a:gd name="connsiteY5" fmla="*/ 73819 h 361950"/>
              <a:gd name="connsiteX6" fmla="*/ 216 w 312398"/>
              <a:gd name="connsiteY6" fmla="*/ 78581 h 361950"/>
              <a:gd name="connsiteX7" fmla="*/ 2598 w 312398"/>
              <a:gd name="connsiteY7" fmla="*/ 95250 h 361950"/>
              <a:gd name="connsiteX8" fmla="*/ 12123 w 312398"/>
              <a:gd name="connsiteY8" fmla="*/ 102394 h 361950"/>
              <a:gd name="connsiteX9" fmla="*/ 19266 w 312398"/>
              <a:gd name="connsiteY9" fmla="*/ 109538 h 361950"/>
              <a:gd name="connsiteX10" fmla="*/ 24029 w 312398"/>
              <a:gd name="connsiteY10" fmla="*/ 116681 h 361950"/>
              <a:gd name="connsiteX11" fmla="*/ 38316 w 312398"/>
              <a:gd name="connsiteY11" fmla="*/ 126206 h 361950"/>
              <a:gd name="connsiteX12" fmla="*/ 45460 w 312398"/>
              <a:gd name="connsiteY12" fmla="*/ 150019 h 361950"/>
              <a:gd name="connsiteX13" fmla="*/ 47841 w 312398"/>
              <a:gd name="connsiteY13" fmla="*/ 166688 h 361950"/>
              <a:gd name="connsiteX14" fmla="*/ 50223 w 312398"/>
              <a:gd name="connsiteY14" fmla="*/ 173831 h 361950"/>
              <a:gd name="connsiteX15" fmla="*/ 52604 w 312398"/>
              <a:gd name="connsiteY15" fmla="*/ 183356 h 361950"/>
              <a:gd name="connsiteX16" fmla="*/ 54985 w 312398"/>
              <a:gd name="connsiteY16" fmla="*/ 190500 h 361950"/>
              <a:gd name="connsiteX17" fmla="*/ 66891 w 312398"/>
              <a:gd name="connsiteY17" fmla="*/ 219075 h 361950"/>
              <a:gd name="connsiteX18" fmla="*/ 74035 w 312398"/>
              <a:gd name="connsiteY18" fmla="*/ 221456 h 361950"/>
              <a:gd name="connsiteX19" fmla="*/ 97848 w 312398"/>
              <a:gd name="connsiteY19" fmla="*/ 238125 h 361950"/>
              <a:gd name="connsiteX20" fmla="*/ 107373 w 312398"/>
              <a:gd name="connsiteY20" fmla="*/ 252413 h 361950"/>
              <a:gd name="connsiteX21" fmla="*/ 112135 w 312398"/>
              <a:gd name="connsiteY21" fmla="*/ 259556 h 361950"/>
              <a:gd name="connsiteX22" fmla="*/ 121660 w 312398"/>
              <a:gd name="connsiteY22" fmla="*/ 271463 h 361950"/>
              <a:gd name="connsiteX23" fmla="*/ 128804 w 312398"/>
              <a:gd name="connsiteY23" fmla="*/ 278606 h 361950"/>
              <a:gd name="connsiteX24" fmla="*/ 133566 w 312398"/>
              <a:gd name="connsiteY24" fmla="*/ 285750 h 361950"/>
              <a:gd name="connsiteX25" fmla="*/ 143091 w 312398"/>
              <a:gd name="connsiteY25" fmla="*/ 290513 h 361950"/>
              <a:gd name="connsiteX26" fmla="*/ 147854 w 312398"/>
              <a:gd name="connsiteY26" fmla="*/ 300038 h 361950"/>
              <a:gd name="connsiteX27" fmla="*/ 150235 w 312398"/>
              <a:gd name="connsiteY27" fmla="*/ 311944 h 361950"/>
              <a:gd name="connsiteX28" fmla="*/ 159760 w 312398"/>
              <a:gd name="connsiteY28" fmla="*/ 326231 h 361950"/>
              <a:gd name="connsiteX29" fmla="*/ 171666 w 312398"/>
              <a:gd name="connsiteY29" fmla="*/ 328613 h 361950"/>
              <a:gd name="connsiteX30" fmla="*/ 178810 w 312398"/>
              <a:gd name="connsiteY30" fmla="*/ 333375 h 361950"/>
              <a:gd name="connsiteX31" fmla="*/ 193098 w 312398"/>
              <a:gd name="connsiteY31" fmla="*/ 338138 h 361950"/>
              <a:gd name="connsiteX32" fmla="*/ 202623 w 312398"/>
              <a:gd name="connsiteY32" fmla="*/ 352425 h 361950"/>
              <a:gd name="connsiteX33" fmla="*/ 216910 w 312398"/>
              <a:gd name="connsiteY33" fmla="*/ 357188 h 361950"/>
              <a:gd name="connsiteX34" fmla="*/ 238341 w 312398"/>
              <a:gd name="connsiteY34" fmla="*/ 361950 h 361950"/>
              <a:gd name="connsiteX35" fmla="*/ 250248 w 312398"/>
              <a:gd name="connsiteY35" fmla="*/ 359569 h 361950"/>
              <a:gd name="connsiteX36" fmla="*/ 245485 w 312398"/>
              <a:gd name="connsiteY36" fmla="*/ 352425 h 361950"/>
              <a:gd name="connsiteX37" fmla="*/ 231198 w 312398"/>
              <a:gd name="connsiteY37" fmla="*/ 340519 h 361950"/>
              <a:gd name="connsiteX38" fmla="*/ 219291 w 312398"/>
              <a:gd name="connsiteY38" fmla="*/ 323850 h 361950"/>
              <a:gd name="connsiteX39" fmla="*/ 221673 w 312398"/>
              <a:gd name="connsiteY39" fmla="*/ 314325 h 361950"/>
              <a:gd name="connsiteX40" fmla="*/ 231198 w 312398"/>
              <a:gd name="connsiteY40" fmla="*/ 311944 h 361950"/>
              <a:gd name="connsiteX41" fmla="*/ 247866 w 312398"/>
              <a:gd name="connsiteY41" fmla="*/ 307181 h 361950"/>
              <a:gd name="connsiteX42" fmla="*/ 250248 w 312398"/>
              <a:gd name="connsiteY42" fmla="*/ 297656 h 361950"/>
              <a:gd name="connsiteX43" fmla="*/ 252629 w 312398"/>
              <a:gd name="connsiteY43" fmla="*/ 290513 h 361950"/>
              <a:gd name="connsiteX44" fmla="*/ 255010 w 312398"/>
              <a:gd name="connsiteY44" fmla="*/ 273844 h 361950"/>
              <a:gd name="connsiteX45" fmla="*/ 269298 w 312398"/>
              <a:gd name="connsiteY45" fmla="*/ 259556 h 361950"/>
              <a:gd name="connsiteX46" fmla="*/ 276441 w 312398"/>
              <a:gd name="connsiteY46" fmla="*/ 257175 h 361950"/>
              <a:gd name="connsiteX47" fmla="*/ 281204 w 312398"/>
              <a:gd name="connsiteY47" fmla="*/ 240506 h 361950"/>
              <a:gd name="connsiteX48" fmla="*/ 285966 w 312398"/>
              <a:gd name="connsiteY48" fmla="*/ 230981 h 361950"/>
              <a:gd name="connsiteX49" fmla="*/ 293110 w 312398"/>
              <a:gd name="connsiteY49" fmla="*/ 214313 h 361950"/>
              <a:gd name="connsiteX50" fmla="*/ 305016 w 312398"/>
              <a:gd name="connsiteY50" fmla="*/ 197644 h 361950"/>
              <a:gd name="connsiteX51" fmla="*/ 309779 w 312398"/>
              <a:gd name="connsiteY51" fmla="*/ 190500 h 361950"/>
              <a:gd name="connsiteX52" fmla="*/ 312160 w 312398"/>
              <a:gd name="connsiteY52" fmla="*/ 180975 h 361950"/>
              <a:gd name="connsiteX53" fmla="*/ 305016 w 312398"/>
              <a:gd name="connsiteY53" fmla="*/ 176213 h 361950"/>
              <a:gd name="connsiteX54" fmla="*/ 290729 w 312398"/>
              <a:gd name="connsiteY54" fmla="*/ 171450 h 361950"/>
              <a:gd name="connsiteX55" fmla="*/ 283585 w 312398"/>
              <a:gd name="connsiteY55" fmla="*/ 169069 h 361950"/>
              <a:gd name="connsiteX56" fmla="*/ 235960 w 312398"/>
              <a:gd name="connsiteY56" fmla="*/ 161925 h 361950"/>
              <a:gd name="connsiteX57" fmla="*/ 212148 w 312398"/>
              <a:gd name="connsiteY57" fmla="*/ 154781 h 361950"/>
              <a:gd name="connsiteX58" fmla="*/ 205004 w 312398"/>
              <a:gd name="connsiteY58" fmla="*/ 152400 h 361950"/>
              <a:gd name="connsiteX59" fmla="*/ 193098 w 312398"/>
              <a:gd name="connsiteY59" fmla="*/ 147638 h 361950"/>
              <a:gd name="connsiteX60" fmla="*/ 185954 w 312398"/>
              <a:gd name="connsiteY60" fmla="*/ 145256 h 361950"/>
              <a:gd name="connsiteX61" fmla="*/ 169285 w 312398"/>
              <a:gd name="connsiteY61" fmla="*/ 140494 h 361950"/>
              <a:gd name="connsiteX62" fmla="*/ 152616 w 312398"/>
              <a:gd name="connsiteY62" fmla="*/ 128588 h 361950"/>
              <a:gd name="connsiteX63" fmla="*/ 143091 w 312398"/>
              <a:gd name="connsiteY63" fmla="*/ 123825 h 361950"/>
              <a:gd name="connsiteX64" fmla="*/ 135948 w 312398"/>
              <a:gd name="connsiteY64" fmla="*/ 116681 h 361950"/>
              <a:gd name="connsiteX65" fmla="*/ 126423 w 312398"/>
              <a:gd name="connsiteY65" fmla="*/ 102394 h 361950"/>
              <a:gd name="connsiteX66" fmla="*/ 121660 w 312398"/>
              <a:gd name="connsiteY66" fmla="*/ 95250 h 361950"/>
              <a:gd name="connsiteX67" fmla="*/ 114516 w 312398"/>
              <a:gd name="connsiteY67" fmla="*/ 90488 h 361950"/>
              <a:gd name="connsiteX68" fmla="*/ 107373 w 312398"/>
              <a:gd name="connsiteY68" fmla="*/ 78581 h 361950"/>
              <a:gd name="connsiteX69" fmla="*/ 100229 w 312398"/>
              <a:gd name="connsiteY69" fmla="*/ 64294 h 361950"/>
              <a:gd name="connsiteX70" fmla="*/ 93085 w 312398"/>
              <a:gd name="connsiteY70" fmla="*/ 59531 h 361950"/>
              <a:gd name="connsiteX71" fmla="*/ 83560 w 312398"/>
              <a:gd name="connsiteY71" fmla="*/ 42863 h 361950"/>
              <a:gd name="connsiteX72" fmla="*/ 76416 w 312398"/>
              <a:gd name="connsiteY72" fmla="*/ 40481 h 361950"/>
              <a:gd name="connsiteX73" fmla="*/ 66891 w 312398"/>
              <a:gd name="connsiteY73" fmla="*/ 28575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312398" h="361950">
                <a:moveTo>
                  <a:pt x="66891" y="28575"/>
                </a:moveTo>
                <a:lnTo>
                  <a:pt x="66891" y="28575"/>
                </a:lnTo>
                <a:cubicBezTo>
                  <a:pt x="62129" y="23019"/>
                  <a:pt x="56908" y="17824"/>
                  <a:pt x="52604" y="11906"/>
                </a:cubicBezTo>
                <a:cubicBezTo>
                  <a:pt x="43188" y="-1040"/>
                  <a:pt x="53704" y="4335"/>
                  <a:pt x="40698" y="0"/>
                </a:cubicBezTo>
                <a:cubicBezTo>
                  <a:pt x="32661" y="24103"/>
                  <a:pt x="40698" y="-2866"/>
                  <a:pt x="40698" y="57150"/>
                </a:cubicBezTo>
                <a:cubicBezTo>
                  <a:pt x="40698" y="62763"/>
                  <a:pt x="39110" y="68263"/>
                  <a:pt x="38316" y="73819"/>
                </a:cubicBezTo>
                <a:cubicBezTo>
                  <a:pt x="38082" y="73802"/>
                  <a:pt x="1923" y="61509"/>
                  <a:pt x="216" y="78581"/>
                </a:cubicBezTo>
                <a:cubicBezTo>
                  <a:pt x="-342" y="84166"/>
                  <a:pt x="88" y="90230"/>
                  <a:pt x="2598" y="95250"/>
                </a:cubicBezTo>
                <a:cubicBezTo>
                  <a:pt x="4373" y="98800"/>
                  <a:pt x="9110" y="99811"/>
                  <a:pt x="12123" y="102394"/>
                </a:cubicBezTo>
                <a:cubicBezTo>
                  <a:pt x="14680" y="104586"/>
                  <a:pt x="17110" y="106951"/>
                  <a:pt x="19266" y="109538"/>
                </a:cubicBezTo>
                <a:cubicBezTo>
                  <a:pt x="21098" y="111736"/>
                  <a:pt x="21875" y="114797"/>
                  <a:pt x="24029" y="116681"/>
                </a:cubicBezTo>
                <a:cubicBezTo>
                  <a:pt x="28337" y="120450"/>
                  <a:pt x="38316" y="126206"/>
                  <a:pt x="38316" y="126206"/>
                </a:cubicBezTo>
                <a:cubicBezTo>
                  <a:pt x="40869" y="133864"/>
                  <a:pt x="43822" y="142373"/>
                  <a:pt x="45460" y="150019"/>
                </a:cubicBezTo>
                <a:cubicBezTo>
                  <a:pt x="46636" y="155507"/>
                  <a:pt x="46740" y="161184"/>
                  <a:pt x="47841" y="166688"/>
                </a:cubicBezTo>
                <a:cubicBezTo>
                  <a:pt x="48333" y="169149"/>
                  <a:pt x="49533" y="171418"/>
                  <a:pt x="50223" y="173831"/>
                </a:cubicBezTo>
                <a:cubicBezTo>
                  <a:pt x="51122" y="176978"/>
                  <a:pt x="51705" y="180209"/>
                  <a:pt x="52604" y="183356"/>
                </a:cubicBezTo>
                <a:cubicBezTo>
                  <a:pt x="53294" y="185770"/>
                  <a:pt x="54441" y="188050"/>
                  <a:pt x="54985" y="190500"/>
                </a:cubicBezTo>
                <a:cubicBezTo>
                  <a:pt x="56621" y="197862"/>
                  <a:pt x="56686" y="215674"/>
                  <a:pt x="66891" y="219075"/>
                </a:cubicBezTo>
                <a:lnTo>
                  <a:pt x="74035" y="221456"/>
                </a:lnTo>
                <a:cubicBezTo>
                  <a:pt x="91625" y="233182"/>
                  <a:pt x="83744" y="227547"/>
                  <a:pt x="97848" y="238125"/>
                </a:cubicBezTo>
                <a:lnTo>
                  <a:pt x="107373" y="252413"/>
                </a:lnTo>
                <a:lnTo>
                  <a:pt x="112135" y="259556"/>
                </a:lnTo>
                <a:cubicBezTo>
                  <a:pt x="116043" y="271283"/>
                  <a:pt x="111718" y="263178"/>
                  <a:pt x="121660" y="271463"/>
                </a:cubicBezTo>
                <a:cubicBezTo>
                  <a:pt x="124247" y="273619"/>
                  <a:pt x="126648" y="276019"/>
                  <a:pt x="128804" y="278606"/>
                </a:cubicBezTo>
                <a:cubicBezTo>
                  <a:pt x="130636" y="280805"/>
                  <a:pt x="131368" y="283918"/>
                  <a:pt x="133566" y="285750"/>
                </a:cubicBezTo>
                <a:cubicBezTo>
                  <a:pt x="136293" y="288023"/>
                  <a:pt x="139916" y="288925"/>
                  <a:pt x="143091" y="290513"/>
                </a:cubicBezTo>
                <a:cubicBezTo>
                  <a:pt x="144679" y="293688"/>
                  <a:pt x="146731" y="296670"/>
                  <a:pt x="147854" y="300038"/>
                </a:cubicBezTo>
                <a:cubicBezTo>
                  <a:pt x="149134" y="303878"/>
                  <a:pt x="149253" y="308018"/>
                  <a:pt x="150235" y="311944"/>
                </a:cubicBezTo>
                <a:cubicBezTo>
                  <a:pt x="151747" y="317993"/>
                  <a:pt x="153435" y="323069"/>
                  <a:pt x="159760" y="326231"/>
                </a:cubicBezTo>
                <a:cubicBezTo>
                  <a:pt x="163380" y="328041"/>
                  <a:pt x="167697" y="327819"/>
                  <a:pt x="171666" y="328613"/>
                </a:cubicBezTo>
                <a:cubicBezTo>
                  <a:pt x="174047" y="330200"/>
                  <a:pt x="176195" y="332213"/>
                  <a:pt x="178810" y="333375"/>
                </a:cubicBezTo>
                <a:cubicBezTo>
                  <a:pt x="183398" y="335414"/>
                  <a:pt x="193098" y="338138"/>
                  <a:pt x="193098" y="338138"/>
                </a:cubicBezTo>
                <a:cubicBezTo>
                  <a:pt x="196273" y="342900"/>
                  <a:pt x="197193" y="350615"/>
                  <a:pt x="202623" y="352425"/>
                </a:cubicBezTo>
                <a:lnTo>
                  <a:pt x="216910" y="357188"/>
                </a:lnTo>
                <a:cubicBezTo>
                  <a:pt x="221951" y="358869"/>
                  <a:pt x="233627" y="361007"/>
                  <a:pt x="238341" y="361950"/>
                </a:cubicBezTo>
                <a:cubicBezTo>
                  <a:pt x="242310" y="361156"/>
                  <a:pt x="247819" y="362807"/>
                  <a:pt x="250248" y="359569"/>
                </a:cubicBezTo>
                <a:cubicBezTo>
                  <a:pt x="251965" y="357279"/>
                  <a:pt x="247317" y="354624"/>
                  <a:pt x="245485" y="352425"/>
                </a:cubicBezTo>
                <a:cubicBezTo>
                  <a:pt x="225975" y="329014"/>
                  <a:pt x="249931" y="359252"/>
                  <a:pt x="231198" y="340519"/>
                </a:cubicBezTo>
                <a:cubicBezTo>
                  <a:pt x="228245" y="337566"/>
                  <a:pt x="221995" y="327906"/>
                  <a:pt x="219291" y="323850"/>
                </a:cubicBezTo>
                <a:cubicBezTo>
                  <a:pt x="220085" y="320675"/>
                  <a:pt x="219359" y="316639"/>
                  <a:pt x="221673" y="314325"/>
                </a:cubicBezTo>
                <a:cubicBezTo>
                  <a:pt x="223987" y="312011"/>
                  <a:pt x="228051" y="312843"/>
                  <a:pt x="231198" y="311944"/>
                </a:cubicBezTo>
                <a:cubicBezTo>
                  <a:pt x="255151" y="305101"/>
                  <a:pt x="218034" y="314641"/>
                  <a:pt x="247866" y="307181"/>
                </a:cubicBezTo>
                <a:cubicBezTo>
                  <a:pt x="248660" y="304006"/>
                  <a:pt x="249349" y="300803"/>
                  <a:pt x="250248" y="297656"/>
                </a:cubicBezTo>
                <a:cubicBezTo>
                  <a:pt x="250938" y="295243"/>
                  <a:pt x="252137" y="292974"/>
                  <a:pt x="252629" y="290513"/>
                </a:cubicBezTo>
                <a:cubicBezTo>
                  <a:pt x="253730" y="285009"/>
                  <a:pt x="253092" y="279119"/>
                  <a:pt x="255010" y="273844"/>
                </a:cubicBezTo>
                <a:cubicBezTo>
                  <a:pt x="257219" y="267770"/>
                  <a:pt x="263649" y="262381"/>
                  <a:pt x="269298" y="259556"/>
                </a:cubicBezTo>
                <a:cubicBezTo>
                  <a:pt x="271543" y="258434"/>
                  <a:pt x="274060" y="257969"/>
                  <a:pt x="276441" y="257175"/>
                </a:cubicBezTo>
                <a:cubicBezTo>
                  <a:pt x="277648" y="252347"/>
                  <a:pt x="279156" y="245285"/>
                  <a:pt x="281204" y="240506"/>
                </a:cubicBezTo>
                <a:cubicBezTo>
                  <a:pt x="282602" y="237243"/>
                  <a:pt x="284568" y="234244"/>
                  <a:pt x="285966" y="230981"/>
                </a:cubicBezTo>
                <a:cubicBezTo>
                  <a:pt x="291686" y="217634"/>
                  <a:pt x="284092" y="230094"/>
                  <a:pt x="293110" y="214313"/>
                </a:cubicBezTo>
                <a:cubicBezTo>
                  <a:pt x="296312" y="208709"/>
                  <a:pt x="301372" y="202745"/>
                  <a:pt x="305016" y="197644"/>
                </a:cubicBezTo>
                <a:cubicBezTo>
                  <a:pt x="306680" y="195315"/>
                  <a:pt x="308191" y="192881"/>
                  <a:pt x="309779" y="190500"/>
                </a:cubicBezTo>
                <a:cubicBezTo>
                  <a:pt x="310573" y="187325"/>
                  <a:pt x="313195" y="184080"/>
                  <a:pt x="312160" y="180975"/>
                </a:cubicBezTo>
                <a:cubicBezTo>
                  <a:pt x="311255" y="178260"/>
                  <a:pt x="307631" y="177375"/>
                  <a:pt x="305016" y="176213"/>
                </a:cubicBezTo>
                <a:cubicBezTo>
                  <a:pt x="300429" y="174174"/>
                  <a:pt x="295491" y="173038"/>
                  <a:pt x="290729" y="171450"/>
                </a:cubicBezTo>
                <a:cubicBezTo>
                  <a:pt x="288348" y="170656"/>
                  <a:pt x="286067" y="169441"/>
                  <a:pt x="283585" y="169069"/>
                </a:cubicBezTo>
                <a:cubicBezTo>
                  <a:pt x="267710" y="166688"/>
                  <a:pt x="251533" y="165818"/>
                  <a:pt x="235960" y="161925"/>
                </a:cubicBezTo>
                <a:cubicBezTo>
                  <a:pt x="221561" y="158326"/>
                  <a:pt x="229546" y="160581"/>
                  <a:pt x="212148" y="154781"/>
                </a:cubicBezTo>
                <a:cubicBezTo>
                  <a:pt x="209767" y="153987"/>
                  <a:pt x="207335" y="153332"/>
                  <a:pt x="205004" y="152400"/>
                </a:cubicBezTo>
                <a:cubicBezTo>
                  <a:pt x="201035" y="150813"/>
                  <a:pt x="197100" y="149139"/>
                  <a:pt x="193098" y="147638"/>
                </a:cubicBezTo>
                <a:cubicBezTo>
                  <a:pt x="190748" y="146757"/>
                  <a:pt x="188368" y="145946"/>
                  <a:pt x="185954" y="145256"/>
                </a:cubicBezTo>
                <a:cubicBezTo>
                  <a:pt x="179914" y="143530"/>
                  <a:pt x="174993" y="142941"/>
                  <a:pt x="169285" y="140494"/>
                </a:cubicBezTo>
                <a:cubicBezTo>
                  <a:pt x="149710" y="132105"/>
                  <a:pt x="168946" y="140252"/>
                  <a:pt x="152616" y="128588"/>
                </a:cubicBezTo>
                <a:cubicBezTo>
                  <a:pt x="149727" y="126525"/>
                  <a:pt x="146266" y="125413"/>
                  <a:pt x="143091" y="123825"/>
                </a:cubicBezTo>
                <a:cubicBezTo>
                  <a:pt x="140710" y="121444"/>
                  <a:pt x="138015" y="119339"/>
                  <a:pt x="135948" y="116681"/>
                </a:cubicBezTo>
                <a:cubicBezTo>
                  <a:pt x="132434" y="112163"/>
                  <a:pt x="129598" y="107156"/>
                  <a:pt x="126423" y="102394"/>
                </a:cubicBezTo>
                <a:lnTo>
                  <a:pt x="121660" y="95250"/>
                </a:lnTo>
                <a:cubicBezTo>
                  <a:pt x="120072" y="92869"/>
                  <a:pt x="116897" y="92075"/>
                  <a:pt x="114516" y="90488"/>
                </a:cubicBezTo>
                <a:cubicBezTo>
                  <a:pt x="112135" y="86519"/>
                  <a:pt x="109443" y="82721"/>
                  <a:pt x="107373" y="78581"/>
                </a:cubicBezTo>
                <a:cubicBezTo>
                  <a:pt x="103502" y="70838"/>
                  <a:pt x="107049" y="71115"/>
                  <a:pt x="100229" y="64294"/>
                </a:cubicBezTo>
                <a:cubicBezTo>
                  <a:pt x="98205" y="62270"/>
                  <a:pt x="95466" y="61119"/>
                  <a:pt x="93085" y="59531"/>
                </a:cubicBezTo>
                <a:cubicBezTo>
                  <a:pt x="91912" y="57184"/>
                  <a:pt x="86367" y="45109"/>
                  <a:pt x="83560" y="42863"/>
                </a:cubicBezTo>
                <a:cubicBezTo>
                  <a:pt x="81600" y="41295"/>
                  <a:pt x="78797" y="41275"/>
                  <a:pt x="76416" y="40481"/>
                </a:cubicBezTo>
                <a:cubicBezTo>
                  <a:pt x="73282" y="31079"/>
                  <a:pt x="68479" y="30559"/>
                  <a:pt x="66891" y="28575"/>
                </a:cubicBezTo>
                <a:close/>
              </a:path>
            </a:pathLst>
          </a:custGeom>
          <a:solidFill>
            <a:srgbClr val="F1AB00"/>
          </a:solidFill>
          <a:ln>
            <a:solidFill>
              <a:srgbClr val="F1A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63" name="Freeform 1962"/>
          <p:cNvSpPr/>
          <p:nvPr/>
        </p:nvSpPr>
        <p:spPr>
          <a:xfrm>
            <a:off x="6697973" y="2156609"/>
            <a:ext cx="359436" cy="640562"/>
          </a:xfrm>
          <a:custGeom>
            <a:avLst/>
            <a:gdLst>
              <a:gd name="connsiteX0" fmla="*/ 161792 w 359436"/>
              <a:gd name="connsiteY0" fmla="*/ 154782 h 640562"/>
              <a:gd name="connsiteX1" fmla="*/ 161792 w 359436"/>
              <a:gd name="connsiteY1" fmla="*/ 154782 h 640562"/>
              <a:gd name="connsiteX2" fmla="*/ 164173 w 359436"/>
              <a:gd name="connsiteY2" fmla="*/ 178594 h 640562"/>
              <a:gd name="connsiteX3" fmla="*/ 159411 w 359436"/>
              <a:gd name="connsiteY3" fmla="*/ 197644 h 640562"/>
              <a:gd name="connsiteX4" fmla="*/ 149886 w 359436"/>
              <a:gd name="connsiteY4" fmla="*/ 219075 h 640562"/>
              <a:gd name="connsiteX5" fmla="*/ 147505 w 359436"/>
              <a:gd name="connsiteY5" fmla="*/ 228600 h 640562"/>
              <a:gd name="connsiteX6" fmla="*/ 137980 w 359436"/>
              <a:gd name="connsiteY6" fmla="*/ 240507 h 640562"/>
              <a:gd name="connsiteX7" fmla="*/ 140361 w 359436"/>
              <a:gd name="connsiteY7" fmla="*/ 278607 h 640562"/>
              <a:gd name="connsiteX8" fmla="*/ 147505 w 359436"/>
              <a:gd name="connsiteY8" fmla="*/ 283369 h 640562"/>
              <a:gd name="connsiteX9" fmla="*/ 152267 w 359436"/>
              <a:gd name="connsiteY9" fmla="*/ 290513 h 640562"/>
              <a:gd name="connsiteX10" fmla="*/ 149886 w 359436"/>
              <a:gd name="connsiteY10" fmla="*/ 297657 h 640562"/>
              <a:gd name="connsiteX11" fmla="*/ 130836 w 359436"/>
              <a:gd name="connsiteY11" fmla="*/ 285750 h 640562"/>
              <a:gd name="connsiteX12" fmla="*/ 123692 w 359436"/>
              <a:gd name="connsiteY12" fmla="*/ 280988 h 640562"/>
              <a:gd name="connsiteX13" fmla="*/ 118930 w 359436"/>
              <a:gd name="connsiteY13" fmla="*/ 259557 h 640562"/>
              <a:gd name="connsiteX14" fmla="*/ 116548 w 359436"/>
              <a:gd name="connsiteY14" fmla="*/ 216694 h 640562"/>
              <a:gd name="connsiteX15" fmla="*/ 109405 w 359436"/>
              <a:gd name="connsiteY15" fmla="*/ 202407 h 640562"/>
              <a:gd name="connsiteX16" fmla="*/ 102261 w 359436"/>
              <a:gd name="connsiteY16" fmla="*/ 192882 h 640562"/>
              <a:gd name="connsiteX17" fmla="*/ 97498 w 359436"/>
              <a:gd name="connsiteY17" fmla="*/ 164307 h 640562"/>
              <a:gd name="connsiteX18" fmla="*/ 92736 w 359436"/>
              <a:gd name="connsiteY18" fmla="*/ 157163 h 640562"/>
              <a:gd name="connsiteX19" fmla="*/ 83211 w 359436"/>
              <a:gd name="connsiteY19" fmla="*/ 135732 h 640562"/>
              <a:gd name="connsiteX20" fmla="*/ 78448 w 359436"/>
              <a:gd name="connsiteY20" fmla="*/ 119063 h 640562"/>
              <a:gd name="connsiteX21" fmla="*/ 68923 w 359436"/>
              <a:gd name="connsiteY21" fmla="*/ 102394 h 640562"/>
              <a:gd name="connsiteX22" fmla="*/ 57017 w 359436"/>
              <a:gd name="connsiteY22" fmla="*/ 85725 h 640562"/>
              <a:gd name="connsiteX23" fmla="*/ 52255 w 359436"/>
              <a:gd name="connsiteY23" fmla="*/ 69057 h 640562"/>
              <a:gd name="connsiteX24" fmla="*/ 47492 w 359436"/>
              <a:gd name="connsiteY24" fmla="*/ 52388 h 640562"/>
              <a:gd name="connsiteX25" fmla="*/ 45111 w 359436"/>
              <a:gd name="connsiteY25" fmla="*/ 35719 h 640562"/>
              <a:gd name="connsiteX26" fmla="*/ 37967 w 359436"/>
              <a:gd name="connsiteY26" fmla="*/ 30957 h 640562"/>
              <a:gd name="connsiteX27" fmla="*/ 23680 w 359436"/>
              <a:gd name="connsiteY27" fmla="*/ 21432 h 640562"/>
              <a:gd name="connsiteX28" fmla="*/ 21298 w 359436"/>
              <a:gd name="connsiteY28" fmla="*/ 14288 h 640562"/>
              <a:gd name="connsiteX29" fmla="*/ 18917 w 359436"/>
              <a:gd name="connsiteY29" fmla="*/ 4763 h 640562"/>
              <a:gd name="connsiteX30" fmla="*/ 9392 w 359436"/>
              <a:gd name="connsiteY30" fmla="*/ 0 h 640562"/>
              <a:gd name="connsiteX31" fmla="*/ 2248 w 359436"/>
              <a:gd name="connsiteY31" fmla="*/ 2382 h 640562"/>
              <a:gd name="connsiteX32" fmla="*/ 11773 w 359436"/>
              <a:gd name="connsiteY32" fmla="*/ 28575 h 640562"/>
              <a:gd name="connsiteX33" fmla="*/ 21298 w 359436"/>
              <a:gd name="connsiteY33" fmla="*/ 42863 h 640562"/>
              <a:gd name="connsiteX34" fmla="*/ 23680 w 359436"/>
              <a:gd name="connsiteY34" fmla="*/ 66675 h 640562"/>
              <a:gd name="connsiteX35" fmla="*/ 28442 w 359436"/>
              <a:gd name="connsiteY35" fmla="*/ 73819 h 640562"/>
              <a:gd name="connsiteX36" fmla="*/ 30823 w 359436"/>
              <a:gd name="connsiteY36" fmla="*/ 104775 h 640562"/>
              <a:gd name="connsiteX37" fmla="*/ 35586 w 359436"/>
              <a:gd name="connsiteY37" fmla="*/ 126207 h 640562"/>
              <a:gd name="connsiteX38" fmla="*/ 37967 w 359436"/>
              <a:gd name="connsiteY38" fmla="*/ 152400 h 640562"/>
              <a:gd name="connsiteX39" fmla="*/ 45111 w 359436"/>
              <a:gd name="connsiteY39" fmla="*/ 169069 h 640562"/>
              <a:gd name="connsiteX40" fmla="*/ 52255 w 359436"/>
              <a:gd name="connsiteY40" fmla="*/ 183357 h 640562"/>
              <a:gd name="connsiteX41" fmla="*/ 54636 w 359436"/>
              <a:gd name="connsiteY41" fmla="*/ 192882 h 640562"/>
              <a:gd name="connsiteX42" fmla="*/ 61780 w 359436"/>
              <a:gd name="connsiteY42" fmla="*/ 195263 h 640562"/>
              <a:gd name="connsiteX43" fmla="*/ 57017 w 359436"/>
              <a:gd name="connsiteY43" fmla="*/ 242888 h 640562"/>
              <a:gd name="connsiteX44" fmla="*/ 54636 w 359436"/>
              <a:gd name="connsiteY44" fmla="*/ 250032 h 640562"/>
              <a:gd name="connsiteX45" fmla="*/ 57017 w 359436"/>
              <a:gd name="connsiteY45" fmla="*/ 264319 h 640562"/>
              <a:gd name="connsiteX46" fmla="*/ 66542 w 359436"/>
              <a:gd name="connsiteY46" fmla="*/ 280988 h 640562"/>
              <a:gd name="connsiteX47" fmla="*/ 71305 w 359436"/>
              <a:gd name="connsiteY47" fmla="*/ 326232 h 640562"/>
              <a:gd name="connsiteX48" fmla="*/ 68923 w 359436"/>
              <a:gd name="connsiteY48" fmla="*/ 350044 h 640562"/>
              <a:gd name="connsiteX49" fmla="*/ 59398 w 359436"/>
              <a:gd name="connsiteY49" fmla="*/ 352425 h 640562"/>
              <a:gd name="connsiteX50" fmla="*/ 57017 w 359436"/>
              <a:gd name="connsiteY50" fmla="*/ 359569 h 640562"/>
              <a:gd name="connsiteX51" fmla="*/ 42730 w 359436"/>
              <a:gd name="connsiteY51" fmla="*/ 366713 h 640562"/>
              <a:gd name="connsiteX52" fmla="*/ 45111 w 359436"/>
              <a:gd name="connsiteY52" fmla="*/ 414338 h 640562"/>
              <a:gd name="connsiteX53" fmla="*/ 52255 w 359436"/>
              <a:gd name="connsiteY53" fmla="*/ 423863 h 640562"/>
              <a:gd name="connsiteX54" fmla="*/ 57017 w 359436"/>
              <a:gd name="connsiteY54" fmla="*/ 431007 h 640562"/>
              <a:gd name="connsiteX55" fmla="*/ 64161 w 359436"/>
              <a:gd name="connsiteY55" fmla="*/ 435769 h 640562"/>
              <a:gd name="connsiteX56" fmla="*/ 71305 w 359436"/>
              <a:gd name="connsiteY56" fmla="*/ 452438 h 640562"/>
              <a:gd name="connsiteX57" fmla="*/ 78448 w 359436"/>
              <a:gd name="connsiteY57" fmla="*/ 454819 h 640562"/>
              <a:gd name="connsiteX58" fmla="*/ 83211 w 359436"/>
              <a:gd name="connsiteY58" fmla="*/ 469107 h 640562"/>
              <a:gd name="connsiteX59" fmla="*/ 85592 w 359436"/>
              <a:gd name="connsiteY59" fmla="*/ 476250 h 640562"/>
              <a:gd name="connsiteX60" fmla="*/ 92736 w 359436"/>
              <a:gd name="connsiteY60" fmla="*/ 504825 h 640562"/>
              <a:gd name="connsiteX61" fmla="*/ 97498 w 359436"/>
              <a:gd name="connsiteY61" fmla="*/ 521494 h 640562"/>
              <a:gd name="connsiteX62" fmla="*/ 104642 w 359436"/>
              <a:gd name="connsiteY62" fmla="*/ 526257 h 640562"/>
              <a:gd name="connsiteX63" fmla="*/ 114167 w 359436"/>
              <a:gd name="connsiteY63" fmla="*/ 535782 h 640562"/>
              <a:gd name="connsiteX64" fmla="*/ 123692 w 359436"/>
              <a:gd name="connsiteY64" fmla="*/ 540544 h 640562"/>
              <a:gd name="connsiteX65" fmla="*/ 130836 w 359436"/>
              <a:gd name="connsiteY65" fmla="*/ 545307 h 640562"/>
              <a:gd name="connsiteX66" fmla="*/ 145123 w 359436"/>
              <a:gd name="connsiteY66" fmla="*/ 566738 h 640562"/>
              <a:gd name="connsiteX67" fmla="*/ 152267 w 359436"/>
              <a:gd name="connsiteY67" fmla="*/ 581025 h 640562"/>
              <a:gd name="connsiteX68" fmla="*/ 159411 w 359436"/>
              <a:gd name="connsiteY68" fmla="*/ 583407 h 640562"/>
              <a:gd name="connsiteX69" fmla="*/ 164173 w 359436"/>
              <a:gd name="connsiteY69" fmla="*/ 590550 h 640562"/>
              <a:gd name="connsiteX70" fmla="*/ 180842 w 359436"/>
              <a:gd name="connsiteY70" fmla="*/ 597694 h 640562"/>
              <a:gd name="connsiteX71" fmla="*/ 187986 w 359436"/>
              <a:gd name="connsiteY71" fmla="*/ 600075 h 640562"/>
              <a:gd name="connsiteX72" fmla="*/ 204655 w 359436"/>
              <a:gd name="connsiteY72" fmla="*/ 607219 h 640562"/>
              <a:gd name="connsiteX73" fmla="*/ 228467 w 359436"/>
              <a:gd name="connsiteY73" fmla="*/ 621507 h 640562"/>
              <a:gd name="connsiteX74" fmla="*/ 237992 w 359436"/>
              <a:gd name="connsiteY74" fmla="*/ 623888 h 640562"/>
              <a:gd name="connsiteX75" fmla="*/ 252280 w 359436"/>
              <a:gd name="connsiteY75" fmla="*/ 628650 h 640562"/>
              <a:gd name="connsiteX76" fmla="*/ 276092 w 359436"/>
              <a:gd name="connsiteY76" fmla="*/ 631032 h 640562"/>
              <a:gd name="connsiteX77" fmla="*/ 295142 w 359436"/>
              <a:gd name="connsiteY77" fmla="*/ 633413 h 640562"/>
              <a:gd name="connsiteX78" fmla="*/ 318955 w 359436"/>
              <a:gd name="connsiteY78" fmla="*/ 640557 h 640562"/>
              <a:gd name="connsiteX79" fmla="*/ 326098 w 359436"/>
              <a:gd name="connsiteY79" fmla="*/ 633413 h 640562"/>
              <a:gd name="connsiteX80" fmla="*/ 330861 w 359436"/>
              <a:gd name="connsiteY80" fmla="*/ 616744 h 640562"/>
              <a:gd name="connsiteX81" fmla="*/ 340386 w 359436"/>
              <a:gd name="connsiteY81" fmla="*/ 611982 h 640562"/>
              <a:gd name="connsiteX82" fmla="*/ 349911 w 359436"/>
              <a:gd name="connsiteY82" fmla="*/ 595313 h 640562"/>
              <a:gd name="connsiteX83" fmla="*/ 359436 w 359436"/>
              <a:gd name="connsiteY83" fmla="*/ 581025 h 640562"/>
              <a:gd name="connsiteX84" fmla="*/ 349911 w 359436"/>
              <a:gd name="connsiteY84" fmla="*/ 557213 h 640562"/>
              <a:gd name="connsiteX85" fmla="*/ 342767 w 359436"/>
              <a:gd name="connsiteY85" fmla="*/ 542925 h 640562"/>
              <a:gd name="connsiteX86" fmla="*/ 333242 w 359436"/>
              <a:gd name="connsiteY86" fmla="*/ 540544 h 640562"/>
              <a:gd name="connsiteX87" fmla="*/ 321336 w 359436"/>
              <a:gd name="connsiteY87" fmla="*/ 526257 h 640562"/>
              <a:gd name="connsiteX88" fmla="*/ 318955 w 359436"/>
              <a:gd name="connsiteY88" fmla="*/ 516732 h 640562"/>
              <a:gd name="connsiteX89" fmla="*/ 316573 w 359436"/>
              <a:gd name="connsiteY89" fmla="*/ 509588 h 640562"/>
              <a:gd name="connsiteX90" fmla="*/ 314192 w 359436"/>
              <a:gd name="connsiteY90" fmla="*/ 497682 h 640562"/>
              <a:gd name="connsiteX91" fmla="*/ 304667 w 359436"/>
              <a:gd name="connsiteY91" fmla="*/ 473869 h 640562"/>
              <a:gd name="connsiteX92" fmla="*/ 299905 w 359436"/>
              <a:gd name="connsiteY92" fmla="*/ 431007 h 640562"/>
              <a:gd name="connsiteX93" fmla="*/ 297523 w 359436"/>
              <a:gd name="connsiteY93" fmla="*/ 423863 h 640562"/>
              <a:gd name="connsiteX94" fmla="*/ 287998 w 359436"/>
              <a:gd name="connsiteY94" fmla="*/ 407194 h 640562"/>
              <a:gd name="connsiteX95" fmla="*/ 283236 w 359436"/>
              <a:gd name="connsiteY95" fmla="*/ 392907 h 640562"/>
              <a:gd name="connsiteX96" fmla="*/ 280855 w 359436"/>
              <a:gd name="connsiteY96" fmla="*/ 385763 h 640562"/>
              <a:gd name="connsiteX97" fmla="*/ 273711 w 359436"/>
              <a:gd name="connsiteY97" fmla="*/ 381000 h 640562"/>
              <a:gd name="connsiteX98" fmla="*/ 264186 w 359436"/>
              <a:gd name="connsiteY98" fmla="*/ 366713 h 640562"/>
              <a:gd name="connsiteX99" fmla="*/ 257042 w 359436"/>
              <a:gd name="connsiteY99" fmla="*/ 345282 h 640562"/>
              <a:gd name="connsiteX100" fmla="*/ 252280 w 359436"/>
              <a:gd name="connsiteY100" fmla="*/ 335757 h 640562"/>
              <a:gd name="connsiteX101" fmla="*/ 249898 w 359436"/>
              <a:gd name="connsiteY101" fmla="*/ 328613 h 640562"/>
              <a:gd name="connsiteX102" fmla="*/ 247517 w 359436"/>
              <a:gd name="connsiteY102" fmla="*/ 311944 h 640562"/>
              <a:gd name="connsiteX103" fmla="*/ 240373 w 359436"/>
              <a:gd name="connsiteY103" fmla="*/ 290513 h 640562"/>
              <a:gd name="connsiteX104" fmla="*/ 235611 w 359436"/>
              <a:gd name="connsiteY104" fmla="*/ 271463 h 640562"/>
              <a:gd name="connsiteX105" fmla="*/ 235611 w 359436"/>
              <a:gd name="connsiteY105" fmla="*/ 214313 h 640562"/>
              <a:gd name="connsiteX106" fmla="*/ 240373 w 359436"/>
              <a:gd name="connsiteY106" fmla="*/ 204788 h 640562"/>
              <a:gd name="connsiteX107" fmla="*/ 195130 w 359436"/>
              <a:gd name="connsiteY107" fmla="*/ 185738 h 640562"/>
              <a:gd name="connsiteX108" fmla="*/ 192748 w 359436"/>
              <a:gd name="connsiteY108" fmla="*/ 178594 h 640562"/>
              <a:gd name="connsiteX109" fmla="*/ 185605 w 359436"/>
              <a:gd name="connsiteY109" fmla="*/ 176213 h 640562"/>
              <a:gd name="connsiteX110" fmla="*/ 183223 w 359436"/>
              <a:gd name="connsiteY110" fmla="*/ 169069 h 640562"/>
              <a:gd name="connsiteX111" fmla="*/ 161792 w 359436"/>
              <a:gd name="connsiteY111" fmla="*/ 154782 h 640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359436" h="640562">
                <a:moveTo>
                  <a:pt x="161792" y="154782"/>
                </a:moveTo>
                <a:lnTo>
                  <a:pt x="161792" y="154782"/>
                </a:lnTo>
                <a:cubicBezTo>
                  <a:pt x="162586" y="162719"/>
                  <a:pt x="164615" y="170629"/>
                  <a:pt x="164173" y="178594"/>
                </a:cubicBezTo>
                <a:cubicBezTo>
                  <a:pt x="163810" y="185129"/>
                  <a:pt x="161209" y="191350"/>
                  <a:pt x="159411" y="197644"/>
                </a:cubicBezTo>
                <a:cubicBezTo>
                  <a:pt x="155161" y="212520"/>
                  <a:pt x="156625" y="208967"/>
                  <a:pt x="149886" y="219075"/>
                </a:cubicBezTo>
                <a:cubicBezTo>
                  <a:pt x="149092" y="222250"/>
                  <a:pt x="149320" y="225877"/>
                  <a:pt x="147505" y="228600"/>
                </a:cubicBezTo>
                <a:cubicBezTo>
                  <a:pt x="133145" y="250141"/>
                  <a:pt x="145763" y="217154"/>
                  <a:pt x="137980" y="240507"/>
                </a:cubicBezTo>
                <a:cubicBezTo>
                  <a:pt x="138774" y="253207"/>
                  <a:pt x="137601" y="266185"/>
                  <a:pt x="140361" y="278607"/>
                </a:cubicBezTo>
                <a:cubicBezTo>
                  <a:pt x="140982" y="281401"/>
                  <a:pt x="145481" y="281345"/>
                  <a:pt x="147505" y="283369"/>
                </a:cubicBezTo>
                <a:cubicBezTo>
                  <a:pt x="149529" y="285393"/>
                  <a:pt x="150680" y="288132"/>
                  <a:pt x="152267" y="290513"/>
                </a:cubicBezTo>
                <a:cubicBezTo>
                  <a:pt x="151473" y="292894"/>
                  <a:pt x="152371" y="297302"/>
                  <a:pt x="149886" y="297657"/>
                </a:cubicBezTo>
                <a:cubicBezTo>
                  <a:pt x="134174" y="299901"/>
                  <a:pt x="137647" y="292561"/>
                  <a:pt x="130836" y="285750"/>
                </a:cubicBezTo>
                <a:cubicBezTo>
                  <a:pt x="128812" y="283726"/>
                  <a:pt x="126073" y="282575"/>
                  <a:pt x="123692" y="280988"/>
                </a:cubicBezTo>
                <a:cubicBezTo>
                  <a:pt x="122448" y="276011"/>
                  <a:pt x="119333" y="264192"/>
                  <a:pt x="118930" y="259557"/>
                </a:cubicBezTo>
                <a:cubicBezTo>
                  <a:pt x="117690" y="245301"/>
                  <a:pt x="117905" y="230939"/>
                  <a:pt x="116548" y="216694"/>
                </a:cubicBezTo>
                <a:cubicBezTo>
                  <a:pt x="116029" y="211249"/>
                  <a:pt x="112405" y="206606"/>
                  <a:pt x="109405" y="202407"/>
                </a:cubicBezTo>
                <a:cubicBezTo>
                  <a:pt x="107098" y="199177"/>
                  <a:pt x="104642" y="196057"/>
                  <a:pt x="102261" y="192882"/>
                </a:cubicBezTo>
                <a:cubicBezTo>
                  <a:pt x="101505" y="186079"/>
                  <a:pt x="101490" y="172290"/>
                  <a:pt x="97498" y="164307"/>
                </a:cubicBezTo>
                <a:cubicBezTo>
                  <a:pt x="96218" y="161747"/>
                  <a:pt x="93898" y="159778"/>
                  <a:pt x="92736" y="157163"/>
                </a:cubicBezTo>
                <a:cubicBezTo>
                  <a:pt x="81403" y="131662"/>
                  <a:pt x="93987" y="151896"/>
                  <a:pt x="83211" y="135732"/>
                </a:cubicBezTo>
                <a:cubicBezTo>
                  <a:pt x="82001" y="130890"/>
                  <a:pt x="80500" y="123852"/>
                  <a:pt x="78448" y="119063"/>
                </a:cubicBezTo>
                <a:cubicBezTo>
                  <a:pt x="72276" y="104661"/>
                  <a:pt x="75760" y="114359"/>
                  <a:pt x="68923" y="102394"/>
                </a:cubicBezTo>
                <a:cubicBezTo>
                  <a:pt x="60564" y="87766"/>
                  <a:pt x="68655" y="97363"/>
                  <a:pt x="57017" y="85725"/>
                </a:cubicBezTo>
                <a:cubicBezTo>
                  <a:pt x="49586" y="55999"/>
                  <a:pt x="59077" y="92930"/>
                  <a:pt x="52255" y="69057"/>
                </a:cubicBezTo>
                <a:cubicBezTo>
                  <a:pt x="46272" y="48119"/>
                  <a:pt x="53203" y="69523"/>
                  <a:pt x="47492" y="52388"/>
                </a:cubicBezTo>
                <a:cubicBezTo>
                  <a:pt x="46698" y="46832"/>
                  <a:pt x="47391" y="40848"/>
                  <a:pt x="45111" y="35719"/>
                </a:cubicBezTo>
                <a:cubicBezTo>
                  <a:pt x="43949" y="33104"/>
                  <a:pt x="39991" y="32981"/>
                  <a:pt x="37967" y="30957"/>
                </a:cubicBezTo>
                <a:cubicBezTo>
                  <a:pt x="27003" y="19993"/>
                  <a:pt x="40998" y="25761"/>
                  <a:pt x="23680" y="21432"/>
                </a:cubicBezTo>
                <a:cubicBezTo>
                  <a:pt x="22886" y="19051"/>
                  <a:pt x="21988" y="16702"/>
                  <a:pt x="21298" y="14288"/>
                </a:cubicBezTo>
                <a:cubicBezTo>
                  <a:pt x="20399" y="11141"/>
                  <a:pt x="21012" y="7277"/>
                  <a:pt x="18917" y="4763"/>
                </a:cubicBezTo>
                <a:cubicBezTo>
                  <a:pt x="16645" y="2036"/>
                  <a:pt x="12567" y="1588"/>
                  <a:pt x="9392" y="0"/>
                </a:cubicBezTo>
                <a:cubicBezTo>
                  <a:pt x="7011" y="794"/>
                  <a:pt x="2697" y="-88"/>
                  <a:pt x="2248" y="2382"/>
                </a:cubicBezTo>
                <a:cubicBezTo>
                  <a:pt x="-2111" y="26361"/>
                  <a:pt x="-738" y="24405"/>
                  <a:pt x="11773" y="28575"/>
                </a:cubicBezTo>
                <a:lnTo>
                  <a:pt x="21298" y="42863"/>
                </a:lnTo>
                <a:cubicBezTo>
                  <a:pt x="25723" y="49500"/>
                  <a:pt x="21886" y="58902"/>
                  <a:pt x="23680" y="66675"/>
                </a:cubicBezTo>
                <a:cubicBezTo>
                  <a:pt x="24324" y="69464"/>
                  <a:pt x="26855" y="71438"/>
                  <a:pt x="28442" y="73819"/>
                </a:cubicBezTo>
                <a:cubicBezTo>
                  <a:pt x="29236" y="84138"/>
                  <a:pt x="29680" y="94489"/>
                  <a:pt x="30823" y="104775"/>
                </a:cubicBezTo>
                <a:cubicBezTo>
                  <a:pt x="31427" y="110210"/>
                  <a:pt x="34180" y="120583"/>
                  <a:pt x="35586" y="126207"/>
                </a:cubicBezTo>
                <a:cubicBezTo>
                  <a:pt x="36380" y="134938"/>
                  <a:pt x="36727" y="143721"/>
                  <a:pt x="37967" y="152400"/>
                </a:cubicBezTo>
                <a:cubicBezTo>
                  <a:pt x="38765" y="157987"/>
                  <a:pt x="43051" y="164263"/>
                  <a:pt x="45111" y="169069"/>
                </a:cubicBezTo>
                <a:cubicBezTo>
                  <a:pt x="51027" y="182874"/>
                  <a:pt x="43100" y="169626"/>
                  <a:pt x="52255" y="183357"/>
                </a:cubicBezTo>
                <a:cubicBezTo>
                  <a:pt x="53049" y="186532"/>
                  <a:pt x="52592" y="190326"/>
                  <a:pt x="54636" y="192882"/>
                </a:cubicBezTo>
                <a:cubicBezTo>
                  <a:pt x="56204" y="194842"/>
                  <a:pt x="61487" y="192770"/>
                  <a:pt x="61780" y="195263"/>
                </a:cubicBezTo>
                <a:cubicBezTo>
                  <a:pt x="63587" y="210623"/>
                  <a:pt x="61354" y="227707"/>
                  <a:pt x="57017" y="242888"/>
                </a:cubicBezTo>
                <a:cubicBezTo>
                  <a:pt x="56327" y="245302"/>
                  <a:pt x="55430" y="247651"/>
                  <a:pt x="54636" y="250032"/>
                </a:cubicBezTo>
                <a:cubicBezTo>
                  <a:pt x="55430" y="254794"/>
                  <a:pt x="55630" y="259695"/>
                  <a:pt x="57017" y="264319"/>
                </a:cubicBezTo>
                <a:cubicBezTo>
                  <a:pt x="58664" y="269809"/>
                  <a:pt x="63355" y="276207"/>
                  <a:pt x="66542" y="280988"/>
                </a:cubicBezTo>
                <a:cubicBezTo>
                  <a:pt x="71104" y="299237"/>
                  <a:pt x="71305" y="297648"/>
                  <a:pt x="71305" y="326232"/>
                </a:cubicBezTo>
                <a:cubicBezTo>
                  <a:pt x="71305" y="334209"/>
                  <a:pt x="72224" y="342782"/>
                  <a:pt x="68923" y="350044"/>
                </a:cubicBezTo>
                <a:cubicBezTo>
                  <a:pt x="67569" y="353023"/>
                  <a:pt x="62573" y="351631"/>
                  <a:pt x="59398" y="352425"/>
                </a:cubicBezTo>
                <a:cubicBezTo>
                  <a:pt x="58604" y="354806"/>
                  <a:pt x="58585" y="357609"/>
                  <a:pt x="57017" y="359569"/>
                </a:cubicBezTo>
                <a:cubicBezTo>
                  <a:pt x="53660" y="363766"/>
                  <a:pt x="47436" y="365144"/>
                  <a:pt x="42730" y="366713"/>
                </a:cubicBezTo>
                <a:cubicBezTo>
                  <a:pt x="36608" y="385073"/>
                  <a:pt x="37035" y="380421"/>
                  <a:pt x="45111" y="414338"/>
                </a:cubicBezTo>
                <a:cubicBezTo>
                  <a:pt x="46030" y="418199"/>
                  <a:pt x="49948" y="420633"/>
                  <a:pt x="52255" y="423863"/>
                </a:cubicBezTo>
                <a:cubicBezTo>
                  <a:pt x="53918" y="426192"/>
                  <a:pt x="54993" y="428983"/>
                  <a:pt x="57017" y="431007"/>
                </a:cubicBezTo>
                <a:cubicBezTo>
                  <a:pt x="59041" y="433031"/>
                  <a:pt x="61780" y="434182"/>
                  <a:pt x="64161" y="435769"/>
                </a:cubicBezTo>
                <a:cubicBezTo>
                  <a:pt x="65591" y="441490"/>
                  <a:pt x="66165" y="448326"/>
                  <a:pt x="71305" y="452438"/>
                </a:cubicBezTo>
                <a:cubicBezTo>
                  <a:pt x="73265" y="454006"/>
                  <a:pt x="76067" y="454025"/>
                  <a:pt x="78448" y="454819"/>
                </a:cubicBezTo>
                <a:lnTo>
                  <a:pt x="83211" y="469107"/>
                </a:lnTo>
                <a:lnTo>
                  <a:pt x="85592" y="476250"/>
                </a:lnTo>
                <a:cubicBezTo>
                  <a:pt x="89702" y="505020"/>
                  <a:pt x="85032" y="481715"/>
                  <a:pt x="92736" y="504825"/>
                </a:cubicBezTo>
                <a:cubicBezTo>
                  <a:pt x="92980" y="505558"/>
                  <a:pt x="96188" y="519856"/>
                  <a:pt x="97498" y="521494"/>
                </a:cubicBezTo>
                <a:cubicBezTo>
                  <a:pt x="99286" y="523729"/>
                  <a:pt x="102469" y="524394"/>
                  <a:pt x="104642" y="526257"/>
                </a:cubicBezTo>
                <a:cubicBezTo>
                  <a:pt x="108051" y="529179"/>
                  <a:pt x="110575" y="533088"/>
                  <a:pt x="114167" y="535782"/>
                </a:cubicBezTo>
                <a:cubicBezTo>
                  <a:pt x="117007" y="537912"/>
                  <a:pt x="120610" y="538783"/>
                  <a:pt x="123692" y="540544"/>
                </a:cubicBezTo>
                <a:cubicBezTo>
                  <a:pt x="126177" y="541964"/>
                  <a:pt x="128455" y="543719"/>
                  <a:pt x="130836" y="545307"/>
                </a:cubicBezTo>
                <a:cubicBezTo>
                  <a:pt x="145040" y="573717"/>
                  <a:pt x="123116" y="531529"/>
                  <a:pt x="145123" y="566738"/>
                </a:cubicBezTo>
                <a:cubicBezTo>
                  <a:pt x="149436" y="573638"/>
                  <a:pt x="144943" y="575166"/>
                  <a:pt x="152267" y="581025"/>
                </a:cubicBezTo>
                <a:cubicBezTo>
                  <a:pt x="154227" y="582593"/>
                  <a:pt x="157030" y="582613"/>
                  <a:pt x="159411" y="583407"/>
                </a:cubicBezTo>
                <a:cubicBezTo>
                  <a:pt x="160998" y="585788"/>
                  <a:pt x="162150" y="588527"/>
                  <a:pt x="164173" y="590550"/>
                </a:cubicBezTo>
                <a:cubicBezTo>
                  <a:pt x="169974" y="596351"/>
                  <a:pt x="173190" y="595508"/>
                  <a:pt x="180842" y="597694"/>
                </a:cubicBezTo>
                <a:cubicBezTo>
                  <a:pt x="183256" y="598384"/>
                  <a:pt x="185605" y="599281"/>
                  <a:pt x="187986" y="600075"/>
                </a:cubicBezTo>
                <a:cubicBezTo>
                  <a:pt x="213987" y="617410"/>
                  <a:pt x="173904" y="591844"/>
                  <a:pt x="204655" y="607219"/>
                </a:cubicBezTo>
                <a:cubicBezTo>
                  <a:pt x="221267" y="615525"/>
                  <a:pt x="214213" y="616161"/>
                  <a:pt x="228467" y="621507"/>
                </a:cubicBezTo>
                <a:cubicBezTo>
                  <a:pt x="231531" y="622656"/>
                  <a:pt x="234857" y="622948"/>
                  <a:pt x="237992" y="623888"/>
                </a:cubicBezTo>
                <a:cubicBezTo>
                  <a:pt x="242801" y="625330"/>
                  <a:pt x="247517" y="627063"/>
                  <a:pt x="252280" y="628650"/>
                </a:cubicBezTo>
                <a:cubicBezTo>
                  <a:pt x="259848" y="631172"/>
                  <a:pt x="268164" y="630151"/>
                  <a:pt x="276092" y="631032"/>
                </a:cubicBezTo>
                <a:cubicBezTo>
                  <a:pt x="282452" y="631739"/>
                  <a:pt x="288792" y="632619"/>
                  <a:pt x="295142" y="633413"/>
                </a:cubicBezTo>
                <a:cubicBezTo>
                  <a:pt x="300389" y="635162"/>
                  <a:pt x="316861" y="640766"/>
                  <a:pt x="318955" y="640557"/>
                </a:cubicBezTo>
                <a:cubicBezTo>
                  <a:pt x="322306" y="640222"/>
                  <a:pt x="323717" y="635794"/>
                  <a:pt x="326098" y="633413"/>
                </a:cubicBezTo>
                <a:cubicBezTo>
                  <a:pt x="326118" y="633333"/>
                  <a:pt x="329724" y="617881"/>
                  <a:pt x="330861" y="616744"/>
                </a:cubicBezTo>
                <a:cubicBezTo>
                  <a:pt x="333371" y="614234"/>
                  <a:pt x="337211" y="613569"/>
                  <a:pt x="340386" y="611982"/>
                </a:cubicBezTo>
                <a:cubicBezTo>
                  <a:pt x="346647" y="586935"/>
                  <a:pt x="337301" y="617382"/>
                  <a:pt x="349911" y="595313"/>
                </a:cubicBezTo>
                <a:cubicBezTo>
                  <a:pt x="359374" y="578752"/>
                  <a:pt x="343983" y="591328"/>
                  <a:pt x="359436" y="581025"/>
                </a:cubicBezTo>
                <a:cubicBezTo>
                  <a:pt x="348521" y="542828"/>
                  <a:pt x="360535" y="578465"/>
                  <a:pt x="349911" y="557213"/>
                </a:cubicBezTo>
                <a:cubicBezTo>
                  <a:pt x="347534" y="552458"/>
                  <a:pt x="347886" y="546338"/>
                  <a:pt x="342767" y="542925"/>
                </a:cubicBezTo>
                <a:cubicBezTo>
                  <a:pt x="340044" y="541110"/>
                  <a:pt x="336417" y="541338"/>
                  <a:pt x="333242" y="540544"/>
                </a:cubicBezTo>
                <a:cubicBezTo>
                  <a:pt x="326643" y="520745"/>
                  <a:pt x="337554" y="548961"/>
                  <a:pt x="321336" y="526257"/>
                </a:cubicBezTo>
                <a:cubicBezTo>
                  <a:pt x="319434" y="523594"/>
                  <a:pt x="319854" y="519879"/>
                  <a:pt x="318955" y="516732"/>
                </a:cubicBezTo>
                <a:cubicBezTo>
                  <a:pt x="318265" y="514318"/>
                  <a:pt x="317182" y="512023"/>
                  <a:pt x="316573" y="509588"/>
                </a:cubicBezTo>
                <a:cubicBezTo>
                  <a:pt x="315591" y="505662"/>
                  <a:pt x="315257" y="501587"/>
                  <a:pt x="314192" y="497682"/>
                </a:cubicBezTo>
                <a:cubicBezTo>
                  <a:pt x="310660" y="484732"/>
                  <a:pt x="310012" y="484557"/>
                  <a:pt x="304667" y="473869"/>
                </a:cubicBezTo>
                <a:cubicBezTo>
                  <a:pt x="298645" y="449779"/>
                  <a:pt x="305716" y="480399"/>
                  <a:pt x="299905" y="431007"/>
                </a:cubicBezTo>
                <a:cubicBezTo>
                  <a:pt x="299612" y="428514"/>
                  <a:pt x="298132" y="426298"/>
                  <a:pt x="297523" y="423863"/>
                </a:cubicBezTo>
                <a:cubicBezTo>
                  <a:pt x="293697" y="408561"/>
                  <a:pt x="299134" y="414619"/>
                  <a:pt x="287998" y="407194"/>
                </a:cubicBezTo>
                <a:lnTo>
                  <a:pt x="283236" y="392907"/>
                </a:lnTo>
                <a:cubicBezTo>
                  <a:pt x="282442" y="390526"/>
                  <a:pt x="282943" y="387155"/>
                  <a:pt x="280855" y="385763"/>
                </a:cubicBezTo>
                <a:lnTo>
                  <a:pt x="273711" y="381000"/>
                </a:lnTo>
                <a:cubicBezTo>
                  <a:pt x="270536" y="376238"/>
                  <a:pt x="265996" y="372143"/>
                  <a:pt x="264186" y="366713"/>
                </a:cubicBezTo>
                <a:lnTo>
                  <a:pt x="257042" y="345282"/>
                </a:lnTo>
                <a:cubicBezTo>
                  <a:pt x="255919" y="341914"/>
                  <a:pt x="253678" y="339020"/>
                  <a:pt x="252280" y="335757"/>
                </a:cubicBezTo>
                <a:cubicBezTo>
                  <a:pt x="251291" y="333450"/>
                  <a:pt x="250692" y="330994"/>
                  <a:pt x="249898" y="328613"/>
                </a:cubicBezTo>
                <a:cubicBezTo>
                  <a:pt x="249104" y="323057"/>
                  <a:pt x="248779" y="317413"/>
                  <a:pt x="247517" y="311944"/>
                </a:cubicBezTo>
                <a:cubicBezTo>
                  <a:pt x="240341" y="280846"/>
                  <a:pt x="245153" y="309635"/>
                  <a:pt x="240373" y="290513"/>
                </a:cubicBezTo>
                <a:lnTo>
                  <a:pt x="235611" y="271463"/>
                </a:lnTo>
                <a:cubicBezTo>
                  <a:pt x="233177" y="247125"/>
                  <a:pt x="231187" y="240859"/>
                  <a:pt x="235611" y="214313"/>
                </a:cubicBezTo>
                <a:cubicBezTo>
                  <a:pt x="236195" y="210812"/>
                  <a:pt x="238786" y="207963"/>
                  <a:pt x="240373" y="204788"/>
                </a:cubicBezTo>
                <a:cubicBezTo>
                  <a:pt x="235205" y="173775"/>
                  <a:pt x="244054" y="198612"/>
                  <a:pt x="195130" y="185738"/>
                </a:cubicBezTo>
                <a:cubicBezTo>
                  <a:pt x="192702" y="185099"/>
                  <a:pt x="194523" y="180369"/>
                  <a:pt x="192748" y="178594"/>
                </a:cubicBezTo>
                <a:cubicBezTo>
                  <a:pt x="190973" y="176819"/>
                  <a:pt x="187986" y="177007"/>
                  <a:pt x="185605" y="176213"/>
                </a:cubicBezTo>
                <a:cubicBezTo>
                  <a:pt x="184811" y="173832"/>
                  <a:pt x="184791" y="171029"/>
                  <a:pt x="183223" y="169069"/>
                </a:cubicBezTo>
                <a:cubicBezTo>
                  <a:pt x="181435" y="166834"/>
                  <a:pt x="165364" y="157163"/>
                  <a:pt x="161792" y="154782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64" name="Freeform 1963"/>
          <p:cNvSpPr/>
          <p:nvPr/>
        </p:nvSpPr>
        <p:spPr>
          <a:xfrm>
            <a:off x="6715655" y="2170429"/>
            <a:ext cx="324071" cy="507758"/>
          </a:xfrm>
          <a:custGeom>
            <a:avLst/>
            <a:gdLst>
              <a:gd name="connsiteX0" fmla="*/ 235964 w 324071"/>
              <a:gd name="connsiteY0" fmla="*/ 355152 h 507758"/>
              <a:gd name="connsiteX1" fmla="*/ 235964 w 324071"/>
              <a:gd name="connsiteY1" fmla="*/ 355152 h 507758"/>
              <a:gd name="connsiteX2" fmla="*/ 214533 w 324071"/>
              <a:gd name="connsiteY2" fmla="*/ 317052 h 507758"/>
              <a:gd name="connsiteX3" fmla="*/ 212152 w 324071"/>
              <a:gd name="connsiteY3" fmla="*/ 309908 h 507758"/>
              <a:gd name="connsiteX4" fmla="*/ 209771 w 324071"/>
              <a:gd name="connsiteY4" fmla="*/ 293239 h 507758"/>
              <a:gd name="connsiteX5" fmla="*/ 202627 w 324071"/>
              <a:gd name="connsiteY5" fmla="*/ 288477 h 507758"/>
              <a:gd name="connsiteX6" fmla="*/ 200246 w 324071"/>
              <a:gd name="connsiteY6" fmla="*/ 281333 h 507758"/>
              <a:gd name="connsiteX7" fmla="*/ 195483 w 324071"/>
              <a:gd name="connsiteY7" fmla="*/ 274189 h 507758"/>
              <a:gd name="connsiteX8" fmla="*/ 193102 w 324071"/>
              <a:gd name="connsiteY8" fmla="*/ 267046 h 507758"/>
              <a:gd name="connsiteX9" fmla="*/ 185958 w 324071"/>
              <a:gd name="connsiteY9" fmla="*/ 262283 h 507758"/>
              <a:gd name="connsiteX10" fmla="*/ 171671 w 324071"/>
              <a:gd name="connsiteY10" fmla="*/ 243233 h 507758"/>
              <a:gd name="connsiteX11" fmla="*/ 164527 w 324071"/>
              <a:gd name="connsiteY11" fmla="*/ 233708 h 507758"/>
              <a:gd name="connsiteX12" fmla="*/ 145477 w 324071"/>
              <a:gd name="connsiteY12" fmla="*/ 236089 h 507758"/>
              <a:gd name="connsiteX13" fmla="*/ 138333 w 324071"/>
              <a:gd name="connsiteY13" fmla="*/ 238471 h 507758"/>
              <a:gd name="connsiteX14" fmla="*/ 126427 w 324071"/>
              <a:gd name="connsiteY14" fmla="*/ 233708 h 507758"/>
              <a:gd name="connsiteX15" fmla="*/ 116902 w 324071"/>
              <a:gd name="connsiteY15" fmla="*/ 231327 h 507758"/>
              <a:gd name="connsiteX16" fmla="*/ 109758 w 324071"/>
              <a:gd name="connsiteY16" fmla="*/ 224183 h 507758"/>
              <a:gd name="connsiteX17" fmla="*/ 102614 w 324071"/>
              <a:gd name="connsiteY17" fmla="*/ 219421 h 507758"/>
              <a:gd name="connsiteX18" fmla="*/ 100233 w 324071"/>
              <a:gd name="connsiteY18" fmla="*/ 212277 h 507758"/>
              <a:gd name="connsiteX19" fmla="*/ 74039 w 324071"/>
              <a:gd name="connsiteY19" fmla="*/ 197989 h 507758"/>
              <a:gd name="connsiteX20" fmla="*/ 69277 w 324071"/>
              <a:gd name="connsiteY20" fmla="*/ 190846 h 507758"/>
              <a:gd name="connsiteX21" fmla="*/ 71658 w 324071"/>
              <a:gd name="connsiteY21" fmla="*/ 181321 h 507758"/>
              <a:gd name="connsiteX22" fmla="*/ 76421 w 324071"/>
              <a:gd name="connsiteY22" fmla="*/ 131314 h 507758"/>
              <a:gd name="connsiteX23" fmla="*/ 74039 w 324071"/>
              <a:gd name="connsiteY23" fmla="*/ 124171 h 507758"/>
              <a:gd name="connsiteX24" fmla="*/ 69277 w 324071"/>
              <a:gd name="connsiteY24" fmla="*/ 107502 h 507758"/>
              <a:gd name="connsiteX25" fmla="*/ 64514 w 324071"/>
              <a:gd name="connsiteY25" fmla="*/ 97977 h 507758"/>
              <a:gd name="connsiteX26" fmla="*/ 50227 w 324071"/>
              <a:gd name="connsiteY26" fmla="*/ 74164 h 507758"/>
              <a:gd name="connsiteX27" fmla="*/ 40702 w 324071"/>
              <a:gd name="connsiteY27" fmla="*/ 62258 h 507758"/>
              <a:gd name="connsiteX28" fmla="*/ 31177 w 324071"/>
              <a:gd name="connsiteY28" fmla="*/ 47971 h 507758"/>
              <a:gd name="connsiteX29" fmla="*/ 24033 w 324071"/>
              <a:gd name="connsiteY29" fmla="*/ 40827 h 507758"/>
              <a:gd name="connsiteX30" fmla="*/ 19271 w 324071"/>
              <a:gd name="connsiteY30" fmla="*/ 31302 h 507758"/>
              <a:gd name="connsiteX31" fmla="*/ 12127 w 324071"/>
              <a:gd name="connsiteY31" fmla="*/ 24158 h 507758"/>
              <a:gd name="connsiteX32" fmla="*/ 221 w 324071"/>
              <a:gd name="connsiteY32" fmla="*/ 346 h 507758"/>
              <a:gd name="connsiteX33" fmla="*/ 2602 w 324071"/>
              <a:gd name="connsiteY33" fmla="*/ 7489 h 507758"/>
              <a:gd name="connsiteX34" fmla="*/ 7364 w 324071"/>
              <a:gd name="connsiteY34" fmla="*/ 33683 h 507758"/>
              <a:gd name="connsiteX35" fmla="*/ 12127 w 324071"/>
              <a:gd name="connsiteY35" fmla="*/ 40827 h 507758"/>
              <a:gd name="connsiteX36" fmla="*/ 19271 w 324071"/>
              <a:gd name="connsiteY36" fmla="*/ 47971 h 507758"/>
              <a:gd name="connsiteX37" fmla="*/ 24033 w 324071"/>
              <a:gd name="connsiteY37" fmla="*/ 62258 h 507758"/>
              <a:gd name="connsiteX38" fmla="*/ 33558 w 324071"/>
              <a:gd name="connsiteY38" fmla="*/ 78927 h 507758"/>
              <a:gd name="connsiteX39" fmla="*/ 35939 w 324071"/>
              <a:gd name="connsiteY39" fmla="*/ 143221 h 507758"/>
              <a:gd name="connsiteX40" fmla="*/ 45464 w 324071"/>
              <a:gd name="connsiteY40" fmla="*/ 157508 h 507758"/>
              <a:gd name="connsiteX41" fmla="*/ 47846 w 324071"/>
              <a:gd name="connsiteY41" fmla="*/ 164652 h 507758"/>
              <a:gd name="connsiteX42" fmla="*/ 52608 w 324071"/>
              <a:gd name="connsiteY42" fmla="*/ 174177 h 507758"/>
              <a:gd name="connsiteX43" fmla="*/ 57371 w 324071"/>
              <a:gd name="connsiteY43" fmla="*/ 209896 h 507758"/>
              <a:gd name="connsiteX44" fmla="*/ 62133 w 324071"/>
              <a:gd name="connsiteY44" fmla="*/ 217039 h 507758"/>
              <a:gd name="connsiteX45" fmla="*/ 64514 w 324071"/>
              <a:gd name="connsiteY45" fmla="*/ 224183 h 507758"/>
              <a:gd name="connsiteX46" fmla="*/ 59752 w 324071"/>
              <a:gd name="connsiteY46" fmla="*/ 231327 h 507758"/>
              <a:gd name="connsiteX47" fmla="*/ 54989 w 324071"/>
              <a:gd name="connsiteY47" fmla="*/ 240852 h 507758"/>
              <a:gd name="connsiteX48" fmla="*/ 54989 w 324071"/>
              <a:gd name="connsiteY48" fmla="*/ 259902 h 507758"/>
              <a:gd name="connsiteX49" fmla="*/ 62133 w 324071"/>
              <a:gd name="connsiteY49" fmla="*/ 264664 h 507758"/>
              <a:gd name="connsiteX50" fmla="*/ 64514 w 324071"/>
              <a:gd name="connsiteY50" fmla="*/ 271808 h 507758"/>
              <a:gd name="connsiteX51" fmla="*/ 69277 w 324071"/>
              <a:gd name="connsiteY51" fmla="*/ 278952 h 507758"/>
              <a:gd name="connsiteX52" fmla="*/ 71658 w 324071"/>
              <a:gd name="connsiteY52" fmla="*/ 300383 h 507758"/>
              <a:gd name="connsiteX53" fmla="*/ 74039 w 324071"/>
              <a:gd name="connsiteY53" fmla="*/ 307527 h 507758"/>
              <a:gd name="connsiteX54" fmla="*/ 81183 w 324071"/>
              <a:gd name="connsiteY54" fmla="*/ 312289 h 507758"/>
              <a:gd name="connsiteX55" fmla="*/ 83564 w 324071"/>
              <a:gd name="connsiteY55" fmla="*/ 321814 h 507758"/>
              <a:gd name="connsiteX56" fmla="*/ 97852 w 324071"/>
              <a:gd name="connsiteY56" fmla="*/ 328958 h 507758"/>
              <a:gd name="connsiteX57" fmla="*/ 116902 w 324071"/>
              <a:gd name="connsiteY57" fmla="*/ 345627 h 507758"/>
              <a:gd name="connsiteX58" fmla="*/ 119283 w 324071"/>
              <a:gd name="connsiteY58" fmla="*/ 355152 h 507758"/>
              <a:gd name="connsiteX59" fmla="*/ 121664 w 324071"/>
              <a:gd name="connsiteY59" fmla="*/ 362296 h 507758"/>
              <a:gd name="connsiteX60" fmla="*/ 124046 w 324071"/>
              <a:gd name="connsiteY60" fmla="*/ 374202 h 507758"/>
              <a:gd name="connsiteX61" fmla="*/ 138333 w 324071"/>
              <a:gd name="connsiteY61" fmla="*/ 383727 h 507758"/>
              <a:gd name="connsiteX62" fmla="*/ 147858 w 324071"/>
              <a:gd name="connsiteY62" fmla="*/ 398014 h 507758"/>
              <a:gd name="connsiteX63" fmla="*/ 152621 w 324071"/>
              <a:gd name="connsiteY63" fmla="*/ 405158 h 507758"/>
              <a:gd name="connsiteX64" fmla="*/ 162146 w 324071"/>
              <a:gd name="connsiteY64" fmla="*/ 409921 h 507758"/>
              <a:gd name="connsiteX65" fmla="*/ 174052 w 324071"/>
              <a:gd name="connsiteY65" fmla="*/ 424208 h 507758"/>
              <a:gd name="connsiteX66" fmla="*/ 181196 w 324071"/>
              <a:gd name="connsiteY66" fmla="*/ 428971 h 507758"/>
              <a:gd name="connsiteX67" fmla="*/ 190721 w 324071"/>
              <a:gd name="connsiteY67" fmla="*/ 436114 h 507758"/>
              <a:gd name="connsiteX68" fmla="*/ 200246 w 324071"/>
              <a:gd name="connsiteY68" fmla="*/ 450402 h 507758"/>
              <a:gd name="connsiteX69" fmla="*/ 207389 w 324071"/>
              <a:gd name="connsiteY69" fmla="*/ 455164 h 507758"/>
              <a:gd name="connsiteX70" fmla="*/ 214533 w 324071"/>
              <a:gd name="connsiteY70" fmla="*/ 464689 h 507758"/>
              <a:gd name="connsiteX71" fmla="*/ 221677 w 324071"/>
              <a:gd name="connsiteY71" fmla="*/ 467071 h 507758"/>
              <a:gd name="connsiteX72" fmla="*/ 228821 w 324071"/>
              <a:gd name="connsiteY72" fmla="*/ 471833 h 507758"/>
              <a:gd name="connsiteX73" fmla="*/ 238346 w 324071"/>
              <a:gd name="connsiteY73" fmla="*/ 476596 h 507758"/>
              <a:gd name="connsiteX74" fmla="*/ 245489 w 324071"/>
              <a:gd name="connsiteY74" fmla="*/ 481358 h 507758"/>
              <a:gd name="connsiteX75" fmla="*/ 269302 w 324071"/>
              <a:gd name="connsiteY75" fmla="*/ 488502 h 507758"/>
              <a:gd name="connsiteX76" fmla="*/ 274064 w 324071"/>
              <a:gd name="connsiteY76" fmla="*/ 495646 h 507758"/>
              <a:gd name="connsiteX77" fmla="*/ 288352 w 324071"/>
              <a:gd name="connsiteY77" fmla="*/ 500408 h 507758"/>
              <a:gd name="connsiteX78" fmla="*/ 295496 w 324071"/>
              <a:gd name="connsiteY78" fmla="*/ 505171 h 507758"/>
              <a:gd name="connsiteX79" fmla="*/ 324071 w 324071"/>
              <a:gd name="connsiteY79" fmla="*/ 505171 h 507758"/>
              <a:gd name="connsiteX80" fmla="*/ 321689 w 324071"/>
              <a:gd name="connsiteY80" fmla="*/ 490883 h 507758"/>
              <a:gd name="connsiteX81" fmla="*/ 307402 w 324071"/>
              <a:gd name="connsiteY81" fmla="*/ 486121 h 507758"/>
              <a:gd name="connsiteX82" fmla="*/ 300258 w 324071"/>
              <a:gd name="connsiteY82" fmla="*/ 483739 h 507758"/>
              <a:gd name="connsiteX83" fmla="*/ 295496 w 324071"/>
              <a:gd name="connsiteY83" fmla="*/ 476596 h 507758"/>
              <a:gd name="connsiteX84" fmla="*/ 288352 w 324071"/>
              <a:gd name="connsiteY84" fmla="*/ 474214 h 507758"/>
              <a:gd name="connsiteX85" fmla="*/ 281208 w 324071"/>
              <a:gd name="connsiteY85" fmla="*/ 467071 h 507758"/>
              <a:gd name="connsiteX86" fmla="*/ 276446 w 324071"/>
              <a:gd name="connsiteY86" fmla="*/ 440877 h 507758"/>
              <a:gd name="connsiteX87" fmla="*/ 266921 w 324071"/>
              <a:gd name="connsiteY87" fmla="*/ 419446 h 507758"/>
              <a:gd name="connsiteX88" fmla="*/ 262158 w 324071"/>
              <a:gd name="connsiteY88" fmla="*/ 402777 h 507758"/>
              <a:gd name="connsiteX89" fmla="*/ 247871 w 324071"/>
              <a:gd name="connsiteY89" fmla="*/ 386108 h 507758"/>
              <a:gd name="connsiteX90" fmla="*/ 238346 w 324071"/>
              <a:gd name="connsiteY90" fmla="*/ 369439 h 507758"/>
              <a:gd name="connsiteX91" fmla="*/ 231202 w 324071"/>
              <a:gd name="connsiteY91" fmla="*/ 364677 h 507758"/>
              <a:gd name="connsiteX92" fmla="*/ 226439 w 324071"/>
              <a:gd name="connsiteY92" fmla="*/ 348008 h 507758"/>
              <a:gd name="connsiteX93" fmla="*/ 235964 w 324071"/>
              <a:gd name="connsiteY93" fmla="*/ 355152 h 507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324071" h="507758">
                <a:moveTo>
                  <a:pt x="235964" y="355152"/>
                </a:moveTo>
                <a:lnTo>
                  <a:pt x="235964" y="355152"/>
                </a:lnTo>
                <a:cubicBezTo>
                  <a:pt x="210590" y="317091"/>
                  <a:pt x="220979" y="339616"/>
                  <a:pt x="214533" y="317052"/>
                </a:cubicBezTo>
                <a:cubicBezTo>
                  <a:pt x="213843" y="314638"/>
                  <a:pt x="212946" y="312289"/>
                  <a:pt x="212152" y="309908"/>
                </a:cubicBezTo>
                <a:cubicBezTo>
                  <a:pt x="211358" y="304352"/>
                  <a:pt x="212051" y="298368"/>
                  <a:pt x="209771" y="293239"/>
                </a:cubicBezTo>
                <a:cubicBezTo>
                  <a:pt x="208609" y="290624"/>
                  <a:pt x="204415" y="290712"/>
                  <a:pt x="202627" y="288477"/>
                </a:cubicBezTo>
                <a:cubicBezTo>
                  <a:pt x="201059" y="286517"/>
                  <a:pt x="201369" y="283578"/>
                  <a:pt x="200246" y="281333"/>
                </a:cubicBezTo>
                <a:cubicBezTo>
                  <a:pt x="198966" y="278773"/>
                  <a:pt x="197071" y="276570"/>
                  <a:pt x="195483" y="274189"/>
                </a:cubicBezTo>
                <a:cubicBezTo>
                  <a:pt x="194689" y="271808"/>
                  <a:pt x="194670" y="269006"/>
                  <a:pt x="193102" y="267046"/>
                </a:cubicBezTo>
                <a:cubicBezTo>
                  <a:pt x="191314" y="264811"/>
                  <a:pt x="187475" y="264710"/>
                  <a:pt x="185958" y="262283"/>
                </a:cubicBezTo>
                <a:cubicBezTo>
                  <a:pt x="172583" y="240883"/>
                  <a:pt x="190983" y="252890"/>
                  <a:pt x="171671" y="243233"/>
                </a:cubicBezTo>
                <a:cubicBezTo>
                  <a:pt x="169290" y="240058"/>
                  <a:pt x="167757" y="236015"/>
                  <a:pt x="164527" y="233708"/>
                </a:cubicBezTo>
                <a:cubicBezTo>
                  <a:pt x="156110" y="227696"/>
                  <a:pt x="152992" y="232868"/>
                  <a:pt x="145477" y="236089"/>
                </a:cubicBezTo>
                <a:cubicBezTo>
                  <a:pt x="143170" y="237078"/>
                  <a:pt x="140714" y="237677"/>
                  <a:pt x="138333" y="238471"/>
                </a:cubicBezTo>
                <a:cubicBezTo>
                  <a:pt x="134364" y="236883"/>
                  <a:pt x="130482" y="235060"/>
                  <a:pt x="126427" y="233708"/>
                </a:cubicBezTo>
                <a:cubicBezTo>
                  <a:pt x="123322" y="232673"/>
                  <a:pt x="119744" y="232951"/>
                  <a:pt x="116902" y="231327"/>
                </a:cubicBezTo>
                <a:cubicBezTo>
                  <a:pt x="113978" y="229656"/>
                  <a:pt x="112345" y="226339"/>
                  <a:pt x="109758" y="224183"/>
                </a:cubicBezTo>
                <a:cubicBezTo>
                  <a:pt x="107559" y="222351"/>
                  <a:pt x="104995" y="221008"/>
                  <a:pt x="102614" y="219421"/>
                </a:cubicBezTo>
                <a:cubicBezTo>
                  <a:pt x="101820" y="217040"/>
                  <a:pt x="102008" y="214052"/>
                  <a:pt x="100233" y="212277"/>
                </a:cubicBezTo>
                <a:cubicBezTo>
                  <a:pt x="92303" y="204346"/>
                  <a:pt x="83856" y="201916"/>
                  <a:pt x="74039" y="197989"/>
                </a:cubicBezTo>
                <a:cubicBezTo>
                  <a:pt x="72452" y="195608"/>
                  <a:pt x="69682" y="193679"/>
                  <a:pt x="69277" y="190846"/>
                </a:cubicBezTo>
                <a:cubicBezTo>
                  <a:pt x="68814" y="187606"/>
                  <a:pt x="71268" y="184570"/>
                  <a:pt x="71658" y="181321"/>
                </a:cubicBezTo>
                <a:cubicBezTo>
                  <a:pt x="73653" y="164696"/>
                  <a:pt x="74833" y="147983"/>
                  <a:pt x="76421" y="131314"/>
                </a:cubicBezTo>
                <a:cubicBezTo>
                  <a:pt x="75627" y="128933"/>
                  <a:pt x="74729" y="126584"/>
                  <a:pt x="74039" y="124171"/>
                </a:cubicBezTo>
                <a:cubicBezTo>
                  <a:pt x="72313" y="118130"/>
                  <a:pt x="71724" y="113211"/>
                  <a:pt x="69277" y="107502"/>
                </a:cubicBezTo>
                <a:cubicBezTo>
                  <a:pt x="67879" y="104239"/>
                  <a:pt x="65788" y="101290"/>
                  <a:pt x="64514" y="97977"/>
                </a:cubicBezTo>
                <a:cubicBezTo>
                  <a:pt x="55176" y="73697"/>
                  <a:pt x="64982" y="79084"/>
                  <a:pt x="50227" y="74164"/>
                </a:cubicBezTo>
                <a:cubicBezTo>
                  <a:pt x="44268" y="50327"/>
                  <a:pt x="53228" y="74783"/>
                  <a:pt x="40702" y="62258"/>
                </a:cubicBezTo>
                <a:cubicBezTo>
                  <a:pt x="36655" y="58211"/>
                  <a:pt x="34352" y="52733"/>
                  <a:pt x="31177" y="47971"/>
                </a:cubicBezTo>
                <a:cubicBezTo>
                  <a:pt x="29309" y="45169"/>
                  <a:pt x="26414" y="43208"/>
                  <a:pt x="24033" y="40827"/>
                </a:cubicBezTo>
                <a:cubicBezTo>
                  <a:pt x="22446" y="37652"/>
                  <a:pt x="21334" y="34191"/>
                  <a:pt x="19271" y="31302"/>
                </a:cubicBezTo>
                <a:cubicBezTo>
                  <a:pt x="17314" y="28562"/>
                  <a:pt x="13892" y="27026"/>
                  <a:pt x="12127" y="24158"/>
                </a:cubicBezTo>
                <a:cubicBezTo>
                  <a:pt x="7476" y="16600"/>
                  <a:pt x="4190" y="8283"/>
                  <a:pt x="221" y="346"/>
                </a:cubicBezTo>
                <a:cubicBezTo>
                  <a:pt x="-901" y="-1899"/>
                  <a:pt x="2602" y="7489"/>
                  <a:pt x="2602" y="7489"/>
                </a:cubicBezTo>
                <a:cubicBezTo>
                  <a:pt x="3422" y="14052"/>
                  <a:pt x="3694" y="26343"/>
                  <a:pt x="7364" y="33683"/>
                </a:cubicBezTo>
                <a:cubicBezTo>
                  <a:pt x="8644" y="36243"/>
                  <a:pt x="10295" y="38628"/>
                  <a:pt x="12127" y="40827"/>
                </a:cubicBezTo>
                <a:cubicBezTo>
                  <a:pt x="14283" y="43414"/>
                  <a:pt x="16890" y="45590"/>
                  <a:pt x="19271" y="47971"/>
                </a:cubicBezTo>
                <a:cubicBezTo>
                  <a:pt x="20858" y="52733"/>
                  <a:pt x="21788" y="57768"/>
                  <a:pt x="24033" y="62258"/>
                </a:cubicBezTo>
                <a:cubicBezTo>
                  <a:pt x="30076" y="74343"/>
                  <a:pt x="26827" y="68829"/>
                  <a:pt x="33558" y="78927"/>
                </a:cubicBezTo>
                <a:cubicBezTo>
                  <a:pt x="34352" y="100358"/>
                  <a:pt x="32726" y="122017"/>
                  <a:pt x="35939" y="143221"/>
                </a:cubicBezTo>
                <a:cubicBezTo>
                  <a:pt x="36796" y="148880"/>
                  <a:pt x="42289" y="152746"/>
                  <a:pt x="45464" y="157508"/>
                </a:cubicBezTo>
                <a:cubicBezTo>
                  <a:pt x="46856" y="159597"/>
                  <a:pt x="46857" y="162345"/>
                  <a:pt x="47846" y="164652"/>
                </a:cubicBezTo>
                <a:cubicBezTo>
                  <a:pt x="49244" y="167915"/>
                  <a:pt x="51021" y="171002"/>
                  <a:pt x="52608" y="174177"/>
                </a:cubicBezTo>
                <a:cubicBezTo>
                  <a:pt x="52871" y="176547"/>
                  <a:pt x="55588" y="204547"/>
                  <a:pt x="57371" y="209896"/>
                </a:cubicBezTo>
                <a:cubicBezTo>
                  <a:pt x="58276" y="212611"/>
                  <a:pt x="60546" y="214658"/>
                  <a:pt x="62133" y="217039"/>
                </a:cubicBezTo>
                <a:cubicBezTo>
                  <a:pt x="62927" y="219420"/>
                  <a:pt x="64927" y="221707"/>
                  <a:pt x="64514" y="224183"/>
                </a:cubicBezTo>
                <a:cubicBezTo>
                  <a:pt x="64044" y="227006"/>
                  <a:pt x="61172" y="228842"/>
                  <a:pt x="59752" y="231327"/>
                </a:cubicBezTo>
                <a:cubicBezTo>
                  <a:pt x="57991" y="234409"/>
                  <a:pt x="56577" y="237677"/>
                  <a:pt x="54989" y="240852"/>
                </a:cubicBezTo>
                <a:cubicBezTo>
                  <a:pt x="53769" y="246954"/>
                  <a:pt x="50303" y="254045"/>
                  <a:pt x="54989" y="259902"/>
                </a:cubicBezTo>
                <a:cubicBezTo>
                  <a:pt x="56777" y="262137"/>
                  <a:pt x="59752" y="263077"/>
                  <a:pt x="62133" y="264664"/>
                </a:cubicBezTo>
                <a:cubicBezTo>
                  <a:pt x="62927" y="267045"/>
                  <a:pt x="63391" y="269563"/>
                  <a:pt x="64514" y="271808"/>
                </a:cubicBezTo>
                <a:cubicBezTo>
                  <a:pt x="65794" y="274368"/>
                  <a:pt x="68583" y="276175"/>
                  <a:pt x="69277" y="278952"/>
                </a:cubicBezTo>
                <a:cubicBezTo>
                  <a:pt x="71020" y="285925"/>
                  <a:pt x="70476" y="293293"/>
                  <a:pt x="71658" y="300383"/>
                </a:cubicBezTo>
                <a:cubicBezTo>
                  <a:pt x="72071" y="302859"/>
                  <a:pt x="72471" y="305567"/>
                  <a:pt x="74039" y="307527"/>
                </a:cubicBezTo>
                <a:cubicBezTo>
                  <a:pt x="75827" y="309762"/>
                  <a:pt x="78802" y="310702"/>
                  <a:pt x="81183" y="312289"/>
                </a:cubicBezTo>
                <a:cubicBezTo>
                  <a:pt x="81977" y="315464"/>
                  <a:pt x="81749" y="319091"/>
                  <a:pt x="83564" y="321814"/>
                </a:cubicBezTo>
                <a:cubicBezTo>
                  <a:pt x="86202" y="325772"/>
                  <a:pt x="93776" y="327600"/>
                  <a:pt x="97852" y="328958"/>
                </a:cubicBezTo>
                <a:cubicBezTo>
                  <a:pt x="114520" y="340071"/>
                  <a:pt x="108964" y="333721"/>
                  <a:pt x="116902" y="345627"/>
                </a:cubicBezTo>
                <a:cubicBezTo>
                  <a:pt x="117696" y="348802"/>
                  <a:pt x="118384" y="352005"/>
                  <a:pt x="119283" y="355152"/>
                </a:cubicBezTo>
                <a:cubicBezTo>
                  <a:pt x="119973" y="357566"/>
                  <a:pt x="121055" y="359861"/>
                  <a:pt x="121664" y="362296"/>
                </a:cubicBezTo>
                <a:cubicBezTo>
                  <a:pt x="122646" y="366222"/>
                  <a:pt x="121561" y="371007"/>
                  <a:pt x="124046" y="374202"/>
                </a:cubicBezTo>
                <a:cubicBezTo>
                  <a:pt x="127560" y="378720"/>
                  <a:pt x="138333" y="383727"/>
                  <a:pt x="138333" y="383727"/>
                </a:cubicBezTo>
                <a:cubicBezTo>
                  <a:pt x="142517" y="396282"/>
                  <a:pt x="137948" y="386123"/>
                  <a:pt x="147858" y="398014"/>
                </a:cubicBezTo>
                <a:cubicBezTo>
                  <a:pt x="149690" y="400213"/>
                  <a:pt x="150422" y="403326"/>
                  <a:pt x="152621" y="405158"/>
                </a:cubicBezTo>
                <a:cubicBezTo>
                  <a:pt x="155348" y="407431"/>
                  <a:pt x="159257" y="407858"/>
                  <a:pt x="162146" y="409921"/>
                </a:cubicBezTo>
                <a:cubicBezTo>
                  <a:pt x="175796" y="419671"/>
                  <a:pt x="163610" y="413766"/>
                  <a:pt x="174052" y="424208"/>
                </a:cubicBezTo>
                <a:cubicBezTo>
                  <a:pt x="176076" y="426232"/>
                  <a:pt x="178867" y="427307"/>
                  <a:pt x="181196" y="428971"/>
                </a:cubicBezTo>
                <a:cubicBezTo>
                  <a:pt x="184425" y="431278"/>
                  <a:pt x="187546" y="433733"/>
                  <a:pt x="190721" y="436114"/>
                </a:cubicBezTo>
                <a:cubicBezTo>
                  <a:pt x="193896" y="440877"/>
                  <a:pt x="195483" y="447227"/>
                  <a:pt x="200246" y="450402"/>
                </a:cubicBezTo>
                <a:cubicBezTo>
                  <a:pt x="202627" y="451989"/>
                  <a:pt x="205366" y="453141"/>
                  <a:pt x="207389" y="455164"/>
                </a:cubicBezTo>
                <a:cubicBezTo>
                  <a:pt x="210195" y="457970"/>
                  <a:pt x="211484" y="462148"/>
                  <a:pt x="214533" y="464689"/>
                </a:cubicBezTo>
                <a:cubicBezTo>
                  <a:pt x="216461" y="466296"/>
                  <a:pt x="219432" y="465948"/>
                  <a:pt x="221677" y="467071"/>
                </a:cubicBezTo>
                <a:cubicBezTo>
                  <a:pt x="224237" y="468351"/>
                  <a:pt x="226336" y="470413"/>
                  <a:pt x="228821" y="471833"/>
                </a:cubicBezTo>
                <a:cubicBezTo>
                  <a:pt x="231903" y="473594"/>
                  <a:pt x="235264" y="474835"/>
                  <a:pt x="238346" y="476596"/>
                </a:cubicBezTo>
                <a:cubicBezTo>
                  <a:pt x="240831" y="478016"/>
                  <a:pt x="242874" y="480196"/>
                  <a:pt x="245489" y="481358"/>
                </a:cubicBezTo>
                <a:cubicBezTo>
                  <a:pt x="252946" y="484672"/>
                  <a:pt x="261383" y="486523"/>
                  <a:pt x="269302" y="488502"/>
                </a:cubicBezTo>
                <a:cubicBezTo>
                  <a:pt x="270889" y="490883"/>
                  <a:pt x="271637" y="494129"/>
                  <a:pt x="274064" y="495646"/>
                </a:cubicBezTo>
                <a:cubicBezTo>
                  <a:pt x="278321" y="498307"/>
                  <a:pt x="288352" y="500408"/>
                  <a:pt x="288352" y="500408"/>
                </a:cubicBezTo>
                <a:cubicBezTo>
                  <a:pt x="290733" y="501996"/>
                  <a:pt x="292755" y="504349"/>
                  <a:pt x="295496" y="505171"/>
                </a:cubicBezTo>
                <a:cubicBezTo>
                  <a:pt x="309672" y="509424"/>
                  <a:pt x="311348" y="507715"/>
                  <a:pt x="324071" y="505171"/>
                </a:cubicBezTo>
                <a:cubicBezTo>
                  <a:pt x="323277" y="500408"/>
                  <a:pt x="324869" y="494517"/>
                  <a:pt x="321689" y="490883"/>
                </a:cubicBezTo>
                <a:cubicBezTo>
                  <a:pt x="318383" y="487105"/>
                  <a:pt x="312164" y="487708"/>
                  <a:pt x="307402" y="486121"/>
                </a:cubicBezTo>
                <a:lnTo>
                  <a:pt x="300258" y="483739"/>
                </a:lnTo>
                <a:cubicBezTo>
                  <a:pt x="298671" y="481358"/>
                  <a:pt x="297731" y="478384"/>
                  <a:pt x="295496" y="476596"/>
                </a:cubicBezTo>
                <a:cubicBezTo>
                  <a:pt x="293536" y="475028"/>
                  <a:pt x="290441" y="475606"/>
                  <a:pt x="288352" y="474214"/>
                </a:cubicBezTo>
                <a:cubicBezTo>
                  <a:pt x="285550" y="472346"/>
                  <a:pt x="283589" y="469452"/>
                  <a:pt x="281208" y="467071"/>
                </a:cubicBezTo>
                <a:cubicBezTo>
                  <a:pt x="274690" y="447515"/>
                  <a:pt x="284526" y="478583"/>
                  <a:pt x="276446" y="440877"/>
                </a:cubicBezTo>
                <a:cubicBezTo>
                  <a:pt x="273761" y="428349"/>
                  <a:pt x="272767" y="428215"/>
                  <a:pt x="266921" y="419446"/>
                </a:cubicBezTo>
                <a:cubicBezTo>
                  <a:pt x="266406" y="417389"/>
                  <a:pt x="263674" y="405431"/>
                  <a:pt x="262158" y="402777"/>
                </a:cubicBezTo>
                <a:cubicBezTo>
                  <a:pt x="250507" y="382388"/>
                  <a:pt x="259929" y="402990"/>
                  <a:pt x="247871" y="386108"/>
                </a:cubicBezTo>
                <a:cubicBezTo>
                  <a:pt x="243208" y="379579"/>
                  <a:pt x="243965" y="375058"/>
                  <a:pt x="238346" y="369439"/>
                </a:cubicBezTo>
                <a:cubicBezTo>
                  <a:pt x="236322" y="367415"/>
                  <a:pt x="233583" y="366264"/>
                  <a:pt x="231202" y="364677"/>
                </a:cubicBezTo>
                <a:cubicBezTo>
                  <a:pt x="230883" y="363403"/>
                  <a:pt x="227807" y="350060"/>
                  <a:pt x="226439" y="348008"/>
                </a:cubicBezTo>
                <a:cubicBezTo>
                  <a:pt x="225999" y="347348"/>
                  <a:pt x="234377" y="353961"/>
                  <a:pt x="235964" y="355152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65" name="Freeform 1964"/>
          <p:cNvSpPr/>
          <p:nvPr/>
        </p:nvSpPr>
        <p:spPr>
          <a:xfrm>
            <a:off x="7171175" y="2871101"/>
            <a:ext cx="204788" cy="250032"/>
          </a:xfrm>
          <a:custGeom>
            <a:avLst/>
            <a:gdLst>
              <a:gd name="connsiteX0" fmla="*/ 26194 w 204788"/>
              <a:gd name="connsiteY0" fmla="*/ 0 h 250032"/>
              <a:gd name="connsiteX1" fmla="*/ 26194 w 204788"/>
              <a:gd name="connsiteY1" fmla="*/ 0 h 250032"/>
              <a:gd name="connsiteX2" fmla="*/ 11907 w 204788"/>
              <a:gd name="connsiteY2" fmla="*/ 19050 h 250032"/>
              <a:gd name="connsiteX3" fmla="*/ 7144 w 204788"/>
              <a:gd name="connsiteY3" fmla="*/ 28575 h 250032"/>
              <a:gd name="connsiteX4" fmla="*/ 2382 w 204788"/>
              <a:gd name="connsiteY4" fmla="*/ 35719 h 250032"/>
              <a:gd name="connsiteX5" fmla="*/ 0 w 204788"/>
              <a:gd name="connsiteY5" fmla="*/ 45244 h 250032"/>
              <a:gd name="connsiteX6" fmla="*/ 4763 w 204788"/>
              <a:gd name="connsiteY6" fmla="*/ 71438 h 250032"/>
              <a:gd name="connsiteX7" fmla="*/ 9525 w 204788"/>
              <a:gd name="connsiteY7" fmla="*/ 78582 h 250032"/>
              <a:gd name="connsiteX8" fmla="*/ 16669 w 204788"/>
              <a:gd name="connsiteY8" fmla="*/ 85725 h 250032"/>
              <a:gd name="connsiteX9" fmla="*/ 23813 w 204788"/>
              <a:gd name="connsiteY9" fmla="*/ 102394 h 250032"/>
              <a:gd name="connsiteX10" fmla="*/ 26194 w 204788"/>
              <a:gd name="connsiteY10" fmla="*/ 111919 h 250032"/>
              <a:gd name="connsiteX11" fmla="*/ 30957 w 204788"/>
              <a:gd name="connsiteY11" fmla="*/ 121444 h 250032"/>
              <a:gd name="connsiteX12" fmla="*/ 40482 w 204788"/>
              <a:gd name="connsiteY12" fmla="*/ 145257 h 250032"/>
              <a:gd name="connsiteX13" fmla="*/ 47625 w 204788"/>
              <a:gd name="connsiteY13" fmla="*/ 147638 h 250032"/>
              <a:gd name="connsiteX14" fmla="*/ 64294 w 204788"/>
              <a:gd name="connsiteY14" fmla="*/ 161925 h 250032"/>
              <a:gd name="connsiteX15" fmla="*/ 73819 w 204788"/>
              <a:gd name="connsiteY15" fmla="*/ 171450 h 250032"/>
              <a:gd name="connsiteX16" fmla="*/ 85725 w 204788"/>
              <a:gd name="connsiteY16" fmla="*/ 180975 h 250032"/>
              <a:gd name="connsiteX17" fmla="*/ 95250 w 204788"/>
              <a:gd name="connsiteY17" fmla="*/ 185738 h 250032"/>
              <a:gd name="connsiteX18" fmla="*/ 97632 w 204788"/>
              <a:gd name="connsiteY18" fmla="*/ 192882 h 250032"/>
              <a:gd name="connsiteX19" fmla="*/ 102394 w 204788"/>
              <a:gd name="connsiteY19" fmla="*/ 200025 h 250032"/>
              <a:gd name="connsiteX20" fmla="*/ 109538 w 204788"/>
              <a:gd name="connsiteY20" fmla="*/ 204788 h 250032"/>
              <a:gd name="connsiteX21" fmla="*/ 116682 w 204788"/>
              <a:gd name="connsiteY21" fmla="*/ 211932 h 250032"/>
              <a:gd name="connsiteX22" fmla="*/ 123825 w 204788"/>
              <a:gd name="connsiteY22" fmla="*/ 226219 h 250032"/>
              <a:gd name="connsiteX23" fmla="*/ 140494 w 204788"/>
              <a:gd name="connsiteY23" fmla="*/ 235744 h 250032"/>
              <a:gd name="connsiteX24" fmla="*/ 142875 w 204788"/>
              <a:gd name="connsiteY24" fmla="*/ 242888 h 250032"/>
              <a:gd name="connsiteX25" fmla="*/ 161925 w 204788"/>
              <a:gd name="connsiteY25" fmla="*/ 250032 h 250032"/>
              <a:gd name="connsiteX26" fmla="*/ 188119 w 204788"/>
              <a:gd name="connsiteY26" fmla="*/ 247650 h 250032"/>
              <a:gd name="connsiteX27" fmla="*/ 197644 w 204788"/>
              <a:gd name="connsiteY27" fmla="*/ 245269 h 250032"/>
              <a:gd name="connsiteX28" fmla="*/ 200025 w 204788"/>
              <a:gd name="connsiteY28" fmla="*/ 219075 h 250032"/>
              <a:gd name="connsiteX29" fmla="*/ 204788 w 204788"/>
              <a:gd name="connsiteY29" fmla="*/ 204788 h 250032"/>
              <a:gd name="connsiteX30" fmla="*/ 197644 w 204788"/>
              <a:gd name="connsiteY30" fmla="*/ 178594 h 250032"/>
              <a:gd name="connsiteX31" fmla="*/ 183357 w 204788"/>
              <a:gd name="connsiteY31" fmla="*/ 169069 h 250032"/>
              <a:gd name="connsiteX32" fmla="*/ 178594 w 204788"/>
              <a:gd name="connsiteY32" fmla="*/ 154782 h 250032"/>
              <a:gd name="connsiteX33" fmla="*/ 176213 w 204788"/>
              <a:gd name="connsiteY33" fmla="*/ 147638 h 250032"/>
              <a:gd name="connsiteX34" fmla="*/ 171450 w 204788"/>
              <a:gd name="connsiteY34" fmla="*/ 140494 h 250032"/>
              <a:gd name="connsiteX35" fmla="*/ 161925 w 204788"/>
              <a:gd name="connsiteY35" fmla="*/ 123825 h 250032"/>
              <a:gd name="connsiteX36" fmla="*/ 154782 w 204788"/>
              <a:gd name="connsiteY36" fmla="*/ 119063 h 250032"/>
              <a:gd name="connsiteX37" fmla="*/ 147638 w 204788"/>
              <a:gd name="connsiteY37" fmla="*/ 111919 h 250032"/>
              <a:gd name="connsiteX38" fmla="*/ 142875 w 204788"/>
              <a:gd name="connsiteY38" fmla="*/ 104775 h 250032"/>
              <a:gd name="connsiteX39" fmla="*/ 135732 w 204788"/>
              <a:gd name="connsiteY39" fmla="*/ 102394 h 250032"/>
              <a:gd name="connsiteX40" fmla="*/ 119063 w 204788"/>
              <a:gd name="connsiteY40" fmla="*/ 85725 h 250032"/>
              <a:gd name="connsiteX41" fmla="*/ 114300 w 204788"/>
              <a:gd name="connsiteY41" fmla="*/ 78582 h 250032"/>
              <a:gd name="connsiteX42" fmla="*/ 111919 w 204788"/>
              <a:gd name="connsiteY42" fmla="*/ 71438 h 250032"/>
              <a:gd name="connsiteX43" fmla="*/ 104775 w 204788"/>
              <a:gd name="connsiteY43" fmla="*/ 69057 h 250032"/>
              <a:gd name="connsiteX44" fmla="*/ 97632 w 204788"/>
              <a:gd name="connsiteY44" fmla="*/ 64294 h 250032"/>
              <a:gd name="connsiteX45" fmla="*/ 92869 w 204788"/>
              <a:gd name="connsiteY45" fmla="*/ 57150 h 250032"/>
              <a:gd name="connsiteX46" fmla="*/ 80963 w 204788"/>
              <a:gd name="connsiteY46" fmla="*/ 54769 h 250032"/>
              <a:gd name="connsiteX47" fmla="*/ 71438 w 204788"/>
              <a:gd name="connsiteY47" fmla="*/ 52388 h 250032"/>
              <a:gd name="connsiteX48" fmla="*/ 54769 w 204788"/>
              <a:gd name="connsiteY48" fmla="*/ 33338 h 250032"/>
              <a:gd name="connsiteX49" fmla="*/ 50007 w 204788"/>
              <a:gd name="connsiteY49" fmla="*/ 23813 h 250032"/>
              <a:gd name="connsiteX50" fmla="*/ 35719 w 204788"/>
              <a:gd name="connsiteY50" fmla="*/ 14288 h 250032"/>
              <a:gd name="connsiteX51" fmla="*/ 26194 w 204788"/>
              <a:gd name="connsiteY51" fmla="*/ 0 h 250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04788" h="250032">
                <a:moveTo>
                  <a:pt x="26194" y="0"/>
                </a:moveTo>
                <a:lnTo>
                  <a:pt x="26194" y="0"/>
                </a:lnTo>
                <a:cubicBezTo>
                  <a:pt x="21432" y="6350"/>
                  <a:pt x="16310" y="12446"/>
                  <a:pt x="11907" y="19050"/>
                </a:cubicBezTo>
                <a:cubicBezTo>
                  <a:pt x="9938" y="22004"/>
                  <a:pt x="8905" y="25493"/>
                  <a:pt x="7144" y="28575"/>
                </a:cubicBezTo>
                <a:cubicBezTo>
                  <a:pt x="5724" y="31060"/>
                  <a:pt x="3969" y="33338"/>
                  <a:pt x="2382" y="35719"/>
                </a:cubicBezTo>
                <a:cubicBezTo>
                  <a:pt x="1588" y="38894"/>
                  <a:pt x="0" y="41971"/>
                  <a:pt x="0" y="45244"/>
                </a:cubicBezTo>
                <a:cubicBezTo>
                  <a:pt x="0" y="50167"/>
                  <a:pt x="1415" y="64741"/>
                  <a:pt x="4763" y="71438"/>
                </a:cubicBezTo>
                <a:cubicBezTo>
                  <a:pt x="6043" y="73998"/>
                  <a:pt x="7693" y="76383"/>
                  <a:pt x="9525" y="78582"/>
                </a:cubicBezTo>
                <a:cubicBezTo>
                  <a:pt x="11681" y="81169"/>
                  <a:pt x="14288" y="83344"/>
                  <a:pt x="16669" y="85725"/>
                </a:cubicBezTo>
                <a:cubicBezTo>
                  <a:pt x="23504" y="113070"/>
                  <a:pt x="13946" y="79371"/>
                  <a:pt x="23813" y="102394"/>
                </a:cubicBezTo>
                <a:cubicBezTo>
                  <a:pt x="25102" y="105402"/>
                  <a:pt x="25045" y="108855"/>
                  <a:pt x="26194" y="111919"/>
                </a:cubicBezTo>
                <a:cubicBezTo>
                  <a:pt x="27440" y="115243"/>
                  <a:pt x="29639" y="118148"/>
                  <a:pt x="30957" y="121444"/>
                </a:cubicBezTo>
                <a:cubicBezTo>
                  <a:pt x="32198" y="124548"/>
                  <a:pt x="36757" y="141532"/>
                  <a:pt x="40482" y="145257"/>
                </a:cubicBezTo>
                <a:cubicBezTo>
                  <a:pt x="42257" y="147032"/>
                  <a:pt x="45380" y="146516"/>
                  <a:pt x="47625" y="147638"/>
                </a:cubicBezTo>
                <a:cubicBezTo>
                  <a:pt x="54880" y="151265"/>
                  <a:pt x="58433" y="156064"/>
                  <a:pt x="64294" y="161925"/>
                </a:cubicBezTo>
                <a:cubicBezTo>
                  <a:pt x="70643" y="180976"/>
                  <a:pt x="61119" y="158750"/>
                  <a:pt x="73819" y="171450"/>
                </a:cubicBezTo>
                <a:cubicBezTo>
                  <a:pt x="86345" y="183976"/>
                  <a:pt x="61887" y="175016"/>
                  <a:pt x="85725" y="180975"/>
                </a:cubicBezTo>
                <a:cubicBezTo>
                  <a:pt x="88900" y="182563"/>
                  <a:pt x="92740" y="183228"/>
                  <a:pt x="95250" y="185738"/>
                </a:cubicBezTo>
                <a:cubicBezTo>
                  <a:pt x="97025" y="187513"/>
                  <a:pt x="96509" y="190637"/>
                  <a:pt x="97632" y="192882"/>
                </a:cubicBezTo>
                <a:cubicBezTo>
                  <a:pt x="98912" y="195441"/>
                  <a:pt x="100371" y="198002"/>
                  <a:pt x="102394" y="200025"/>
                </a:cubicBezTo>
                <a:cubicBezTo>
                  <a:pt x="104418" y="202049"/>
                  <a:pt x="107339" y="202956"/>
                  <a:pt x="109538" y="204788"/>
                </a:cubicBezTo>
                <a:cubicBezTo>
                  <a:pt x="112125" y="206944"/>
                  <a:pt x="114301" y="209551"/>
                  <a:pt x="116682" y="211932"/>
                </a:cubicBezTo>
                <a:cubicBezTo>
                  <a:pt x="118618" y="217741"/>
                  <a:pt x="119210" y="221604"/>
                  <a:pt x="123825" y="226219"/>
                </a:cubicBezTo>
                <a:cubicBezTo>
                  <a:pt x="127192" y="229586"/>
                  <a:pt x="136757" y="233876"/>
                  <a:pt x="140494" y="235744"/>
                </a:cubicBezTo>
                <a:cubicBezTo>
                  <a:pt x="141288" y="238125"/>
                  <a:pt x="141307" y="240928"/>
                  <a:pt x="142875" y="242888"/>
                </a:cubicBezTo>
                <a:cubicBezTo>
                  <a:pt x="147546" y="248726"/>
                  <a:pt x="155473" y="248741"/>
                  <a:pt x="161925" y="250032"/>
                </a:cubicBezTo>
                <a:cubicBezTo>
                  <a:pt x="170656" y="249238"/>
                  <a:pt x="179429" y="248809"/>
                  <a:pt x="188119" y="247650"/>
                </a:cubicBezTo>
                <a:cubicBezTo>
                  <a:pt x="191363" y="247217"/>
                  <a:pt x="196385" y="248290"/>
                  <a:pt x="197644" y="245269"/>
                </a:cubicBezTo>
                <a:cubicBezTo>
                  <a:pt x="201016" y="237176"/>
                  <a:pt x="198501" y="227709"/>
                  <a:pt x="200025" y="219075"/>
                </a:cubicBezTo>
                <a:cubicBezTo>
                  <a:pt x="200897" y="214131"/>
                  <a:pt x="204788" y="204788"/>
                  <a:pt x="204788" y="204788"/>
                </a:cubicBezTo>
                <a:cubicBezTo>
                  <a:pt x="203682" y="195939"/>
                  <a:pt x="205228" y="185230"/>
                  <a:pt x="197644" y="178594"/>
                </a:cubicBezTo>
                <a:cubicBezTo>
                  <a:pt x="193337" y="174825"/>
                  <a:pt x="183357" y="169069"/>
                  <a:pt x="183357" y="169069"/>
                </a:cubicBezTo>
                <a:lnTo>
                  <a:pt x="178594" y="154782"/>
                </a:lnTo>
                <a:cubicBezTo>
                  <a:pt x="177800" y="152401"/>
                  <a:pt x="177605" y="149726"/>
                  <a:pt x="176213" y="147638"/>
                </a:cubicBezTo>
                <a:lnTo>
                  <a:pt x="171450" y="140494"/>
                </a:lnTo>
                <a:cubicBezTo>
                  <a:pt x="168726" y="132320"/>
                  <a:pt x="169134" y="131034"/>
                  <a:pt x="161925" y="123825"/>
                </a:cubicBezTo>
                <a:cubicBezTo>
                  <a:pt x="159902" y="121802"/>
                  <a:pt x="156980" y="120895"/>
                  <a:pt x="154782" y="119063"/>
                </a:cubicBezTo>
                <a:cubicBezTo>
                  <a:pt x="152195" y="116907"/>
                  <a:pt x="149794" y="114506"/>
                  <a:pt x="147638" y="111919"/>
                </a:cubicBezTo>
                <a:cubicBezTo>
                  <a:pt x="145806" y="109720"/>
                  <a:pt x="145110" y="106563"/>
                  <a:pt x="142875" y="104775"/>
                </a:cubicBezTo>
                <a:cubicBezTo>
                  <a:pt x="140915" y="103207"/>
                  <a:pt x="138113" y="103188"/>
                  <a:pt x="135732" y="102394"/>
                </a:cubicBezTo>
                <a:cubicBezTo>
                  <a:pt x="124815" y="86018"/>
                  <a:pt x="131637" y="89917"/>
                  <a:pt x="119063" y="85725"/>
                </a:cubicBezTo>
                <a:cubicBezTo>
                  <a:pt x="117475" y="83344"/>
                  <a:pt x="115580" y="81142"/>
                  <a:pt x="114300" y="78582"/>
                </a:cubicBezTo>
                <a:cubicBezTo>
                  <a:pt x="113177" y="76337"/>
                  <a:pt x="113694" y="73213"/>
                  <a:pt x="111919" y="71438"/>
                </a:cubicBezTo>
                <a:cubicBezTo>
                  <a:pt x="110144" y="69663"/>
                  <a:pt x="107156" y="69851"/>
                  <a:pt x="104775" y="69057"/>
                </a:cubicBezTo>
                <a:cubicBezTo>
                  <a:pt x="102394" y="67469"/>
                  <a:pt x="99656" y="66318"/>
                  <a:pt x="97632" y="64294"/>
                </a:cubicBezTo>
                <a:cubicBezTo>
                  <a:pt x="95608" y="62270"/>
                  <a:pt x="95354" y="58570"/>
                  <a:pt x="92869" y="57150"/>
                </a:cubicBezTo>
                <a:cubicBezTo>
                  <a:pt x="89355" y="55142"/>
                  <a:pt x="84914" y="55647"/>
                  <a:pt x="80963" y="54769"/>
                </a:cubicBezTo>
                <a:cubicBezTo>
                  <a:pt x="77768" y="54059"/>
                  <a:pt x="74613" y="53182"/>
                  <a:pt x="71438" y="52388"/>
                </a:cubicBezTo>
                <a:cubicBezTo>
                  <a:pt x="60326" y="35719"/>
                  <a:pt x="66676" y="41275"/>
                  <a:pt x="54769" y="33338"/>
                </a:cubicBezTo>
                <a:cubicBezTo>
                  <a:pt x="53182" y="30163"/>
                  <a:pt x="52517" y="26323"/>
                  <a:pt x="50007" y="23813"/>
                </a:cubicBezTo>
                <a:cubicBezTo>
                  <a:pt x="45960" y="19766"/>
                  <a:pt x="40482" y="17463"/>
                  <a:pt x="35719" y="14288"/>
                </a:cubicBezTo>
                <a:cubicBezTo>
                  <a:pt x="33851" y="13043"/>
                  <a:pt x="27781" y="2381"/>
                  <a:pt x="26194" y="0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66" name="Freeform 1965"/>
          <p:cNvSpPr/>
          <p:nvPr/>
        </p:nvSpPr>
        <p:spPr>
          <a:xfrm>
            <a:off x="7532405" y="2884494"/>
            <a:ext cx="186198" cy="228600"/>
          </a:xfrm>
          <a:custGeom>
            <a:avLst/>
            <a:gdLst>
              <a:gd name="connsiteX0" fmla="*/ 152400 w 186198"/>
              <a:gd name="connsiteY0" fmla="*/ 0 h 228600"/>
              <a:gd name="connsiteX1" fmla="*/ 152400 w 186198"/>
              <a:gd name="connsiteY1" fmla="*/ 0 h 228600"/>
              <a:gd name="connsiteX2" fmla="*/ 138112 w 186198"/>
              <a:gd name="connsiteY2" fmla="*/ 19050 h 228600"/>
              <a:gd name="connsiteX3" fmla="*/ 130969 w 186198"/>
              <a:gd name="connsiteY3" fmla="*/ 23812 h 228600"/>
              <a:gd name="connsiteX4" fmla="*/ 123825 w 186198"/>
              <a:gd name="connsiteY4" fmla="*/ 45244 h 228600"/>
              <a:gd name="connsiteX5" fmla="*/ 116681 w 186198"/>
              <a:gd name="connsiteY5" fmla="*/ 47625 h 228600"/>
              <a:gd name="connsiteX6" fmla="*/ 114300 w 186198"/>
              <a:gd name="connsiteY6" fmla="*/ 54769 h 228600"/>
              <a:gd name="connsiteX7" fmla="*/ 107156 w 186198"/>
              <a:gd name="connsiteY7" fmla="*/ 69056 h 228600"/>
              <a:gd name="connsiteX8" fmla="*/ 104775 w 186198"/>
              <a:gd name="connsiteY8" fmla="*/ 85725 h 228600"/>
              <a:gd name="connsiteX9" fmla="*/ 90487 w 186198"/>
              <a:gd name="connsiteY9" fmla="*/ 90487 h 228600"/>
              <a:gd name="connsiteX10" fmla="*/ 83344 w 186198"/>
              <a:gd name="connsiteY10" fmla="*/ 92869 h 228600"/>
              <a:gd name="connsiteX11" fmla="*/ 76200 w 186198"/>
              <a:gd name="connsiteY11" fmla="*/ 130969 h 228600"/>
              <a:gd name="connsiteX12" fmla="*/ 71437 w 186198"/>
              <a:gd name="connsiteY12" fmla="*/ 147637 h 228600"/>
              <a:gd name="connsiteX13" fmla="*/ 50006 w 186198"/>
              <a:gd name="connsiteY13" fmla="*/ 154781 h 228600"/>
              <a:gd name="connsiteX14" fmla="*/ 42862 w 186198"/>
              <a:gd name="connsiteY14" fmla="*/ 157162 h 228600"/>
              <a:gd name="connsiteX15" fmla="*/ 33337 w 186198"/>
              <a:gd name="connsiteY15" fmla="*/ 159544 h 228600"/>
              <a:gd name="connsiteX16" fmla="*/ 26194 w 186198"/>
              <a:gd name="connsiteY16" fmla="*/ 164306 h 228600"/>
              <a:gd name="connsiteX17" fmla="*/ 16669 w 186198"/>
              <a:gd name="connsiteY17" fmla="*/ 176212 h 228600"/>
              <a:gd name="connsiteX18" fmla="*/ 11906 w 186198"/>
              <a:gd name="connsiteY18" fmla="*/ 185737 h 228600"/>
              <a:gd name="connsiteX19" fmla="*/ 7144 w 186198"/>
              <a:gd name="connsiteY19" fmla="*/ 200025 h 228600"/>
              <a:gd name="connsiteX20" fmla="*/ 0 w 186198"/>
              <a:gd name="connsiteY20" fmla="*/ 204787 h 228600"/>
              <a:gd name="connsiteX21" fmla="*/ 2381 w 186198"/>
              <a:gd name="connsiteY21" fmla="*/ 221456 h 228600"/>
              <a:gd name="connsiteX22" fmla="*/ 19050 w 186198"/>
              <a:gd name="connsiteY22" fmla="*/ 228600 h 228600"/>
              <a:gd name="connsiteX23" fmla="*/ 102394 w 186198"/>
              <a:gd name="connsiteY23" fmla="*/ 226219 h 228600"/>
              <a:gd name="connsiteX24" fmla="*/ 107156 w 186198"/>
              <a:gd name="connsiteY24" fmla="*/ 219075 h 228600"/>
              <a:gd name="connsiteX25" fmla="*/ 109537 w 186198"/>
              <a:gd name="connsiteY25" fmla="*/ 188119 h 228600"/>
              <a:gd name="connsiteX26" fmla="*/ 119062 w 186198"/>
              <a:gd name="connsiteY26" fmla="*/ 173831 h 228600"/>
              <a:gd name="connsiteX27" fmla="*/ 135731 w 186198"/>
              <a:gd name="connsiteY27" fmla="*/ 154781 h 228600"/>
              <a:gd name="connsiteX28" fmla="*/ 138112 w 186198"/>
              <a:gd name="connsiteY28" fmla="*/ 147637 h 228600"/>
              <a:gd name="connsiteX29" fmla="*/ 142875 w 186198"/>
              <a:gd name="connsiteY29" fmla="*/ 88106 h 228600"/>
              <a:gd name="connsiteX30" fmla="*/ 154781 w 186198"/>
              <a:gd name="connsiteY30" fmla="*/ 71437 h 228600"/>
              <a:gd name="connsiteX31" fmla="*/ 157162 w 186198"/>
              <a:gd name="connsiteY31" fmla="*/ 64294 h 228600"/>
              <a:gd name="connsiteX32" fmla="*/ 161925 w 186198"/>
              <a:gd name="connsiteY32" fmla="*/ 57150 h 228600"/>
              <a:gd name="connsiteX33" fmla="*/ 171450 w 186198"/>
              <a:gd name="connsiteY33" fmla="*/ 42862 h 228600"/>
              <a:gd name="connsiteX34" fmla="*/ 178594 w 186198"/>
              <a:gd name="connsiteY34" fmla="*/ 33337 h 228600"/>
              <a:gd name="connsiteX35" fmla="*/ 185737 w 186198"/>
              <a:gd name="connsiteY35" fmla="*/ 28575 h 228600"/>
              <a:gd name="connsiteX36" fmla="*/ 183356 w 186198"/>
              <a:gd name="connsiteY36" fmla="*/ 14287 h 228600"/>
              <a:gd name="connsiteX37" fmla="*/ 176212 w 186198"/>
              <a:gd name="connsiteY37" fmla="*/ 11906 h 228600"/>
              <a:gd name="connsiteX38" fmla="*/ 166687 w 186198"/>
              <a:gd name="connsiteY38" fmla="*/ 9525 h 228600"/>
              <a:gd name="connsiteX39" fmla="*/ 152400 w 186198"/>
              <a:gd name="connsiteY39" fmla="*/ 0 h 228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6198" h="228600">
                <a:moveTo>
                  <a:pt x="152400" y="0"/>
                </a:moveTo>
                <a:lnTo>
                  <a:pt x="152400" y="0"/>
                </a:lnTo>
                <a:cubicBezTo>
                  <a:pt x="147637" y="6350"/>
                  <a:pt x="143422" y="13150"/>
                  <a:pt x="138112" y="19050"/>
                </a:cubicBezTo>
                <a:cubicBezTo>
                  <a:pt x="136198" y="21177"/>
                  <a:pt x="132486" y="21385"/>
                  <a:pt x="130969" y="23812"/>
                </a:cubicBezTo>
                <a:cubicBezTo>
                  <a:pt x="130967" y="23816"/>
                  <a:pt x="125016" y="41670"/>
                  <a:pt x="123825" y="45244"/>
                </a:cubicBezTo>
                <a:cubicBezTo>
                  <a:pt x="123031" y="47625"/>
                  <a:pt x="119062" y="46831"/>
                  <a:pt x="116681" y="47625"/>
                </a:cubicBezTo>
                <a:cubicBezTo>
                  <a:pt x="115887" y="50006"/>
                  <a:pt x="115423" y="52524"/>
                  <a:pt x="114300" y="54769"/>
                </a:cubicBezTo>
                <a:cubicBezTo>
                  <a:pt x="105067" y="73233"/>
                  <a:pt x="113141" y="51099"/>
                  <a:pt x="107156" y="69056"/>
                </a:cubicBezTo>
                <a:cubicBezTo>
                  <a:pt x="106362" y="74612"/>
                  <a:pt x="108221" y="81295"/>
                  <a:pt x="104775" y="85725"/>
                </a:cubicBezTo>
                <a:cubicBezTo>
                  <a:pt x="101693" y="89688"/>
                  <a:pt x="95250" y="88899"/>
                  <a:pt x="90487" y="90487"/>
                </a:cubicBezTo>
                <a:lnTo>
                  <a:pt x="83344" y="92869"/>
                </a:lnTo>
                <a:cubicBezTo>
                  <a:pt x="73644" y="112268"/>
                  <a:pt x="80659" y="95289"/>
                  <a:pt x="76200" y="130969"/>
                </a:cubicBezTo>
                <a:cubicBezTo>
                  <a:pt x="76191" y="131042"/>
                  <a:pt x="72568" y="146506"/>
                  <a:pt x="71437" y="147637"/>
                </a:cubicBezTo>
                <a:cubicBezTo>
                  <a:pt x="66154" y="152920"/>
                  <a:pt x="56429" y="153175"/>
                  <a:pt x="50006" y="154781"/>
                </a:cubicBezTo>
                <a:cubicBezTo>
                  <a:pt x="47571" y="155390"/>
                  <a:pt x="45276" y="156472"/>
                  <a:pt x="42862" y="157162"/>
                </a:cubicBezTo>
                <a:cubicBezTo>
                  <a:pt x="39715" y="158061"/>
                  <a:pt x="36512" y="158750"/>
                  <a:pt x="33337" y="159544"/>
                </a:cubicBezTo>
                <a:cubicBezTo>
                  <a:pt x="30956" y="161131"/>
                  <a:pt x="27982" y="162071"/>
                  <a:pt x="26194" y="164306"/>
                </a:cubicBezTo>
                <a:cubicBezTo>
                  <a:pt x="13050" y="180736"/>
                  <a:pt x="37138" y="162566"/>
                  <a:pt x="16669" y="176212"/>
                </a:cubicBezTo>
                <a:cubicBezTo>
                  <a:pt x="15081" y="179387"/>
                  <a:pt x="13224" y="182441"/>
                  <a:pt x="11906" y="185737"/>
                </a:cubicBezTo>
                <a:cubicBezTo>
                  <a:pt x="10042" y="190398"/>
                  <a:pt x="11321" y="197241"/>
                  <a:pt x="7144" y="200025"/>
                </a:cubicBezTo>
                <a:lnTo>
                  <a:pt x="0" y="204787"/>
                </a:lnTo>
                <a:cubicBezTo>
                  <a:pt x="794" y="210343"/>
                  <a:pt x="102" y="216327"/>
                  <a:pt x="2381" y="221456"/>
                </a:cubicBezTo>
                <a:cubicBezTo>
                  <a:pt x="4437" y="226082"/>
                  <a:pt x="15680" y="227758"/>
                  <a:pt x="19050" y="228600"/>
                </a:cubicBezTo>
                <a:cubicBezTo>
                  <a:pt x="46831" y="227806"/>
                  <a:pt x="74762" y="229206"/>
                  <a:pt x="102394" y="226219"/>
                </a:cubicBezTo>
                <a:cubicBezTo>
                  <a:pt x="105239" y="225911"/>
                  <a:pt x="106629" y="221888"/>
                  <a:pt x="107156" y="219075"/>
                </a:cubicBezTo>
                <a:cubicBezTo>
                  <a:pt x="109063" y="208903"/>
                  <a:pt x="108253" y="198388"/>
                  <a:pt x="109537" y="188119"/>
                </a:cubicBezTo>
                <a:cubicBezTo>
                  <a:pt x="110700" y="178819"/>
                  <a:pt x="113209" y="181357"/>
                  <a:pt x="119062" y="173831"/>
                </a:cubicBezTo>
                <a:cubicBezTo>
                  <a:pt x="134020" y="154599"/>
                  <a:pt x="121902" y="164001"/>
                  <a:pt x="135731" y="154781"/>
                </a:cubicBezTo>
                <a:cubicBezTo>
                  <a:pt x="136525" y="152400"/>
                  <a:pt x="137835" y="150132"/>
                  <a:pt x="138112" y="147637"/>
                </a:cubicBezTo>
                <a:cubicBezTo>
                  <a:pt x="138993" y="139707"/>
                  <a:pt x="140665" y="99894"/>
                  <a:pt x="142875" y="88106"/>
                </a:cubicBezTo>
                <a:cubicBezTo>
                  <a:pt x="145838" y="72302"/>
                  <a:pt x="144171" y="74975"/>
                  <a:pt x="154781" y="71437"/>
                </a:cubicBezTo>
                <a:cubicBezTo>
                  <a:pt x="155575" y="69056"/>
                  <a:pt x="156040" y="66539"/>
                  <a:pt x="157162" y="64294"/>
                </a:cubicBezTo>
                <a:cubicBezTo>
                  <a:pt x="158442" y="61734"/>
                  <a:pt x="160920" y="59830"/>
                  <a:pt x="161925" y="57150"/>
                </a:cubicBezTo>
                <a:cubicBezTo>
                  <a:pt x="167672" y="41824"/>
                  <a:pt x="158684" y="47119"/>
                  <a:pt x="171450" y="42862"/>
                </a:cubicBezTo>
                <a:cubicBezTo>
                  <a:pt x="173831" y="39687"/>
                  <a:pt x="175788" y="36143"/>
                  <a:pt x="178594" y="33337"/>
                </a:cubicBezTo>
                <a:cubicBezTo>
                  <a:pt x="180617" y="31314"/>
                  <a:pt x="185043" y="31351"/>
                  <a:pt x="185737" y="28575"/>
                </a:cubicBezTo>
                <a:cubicBezTo>
                  <a:pt x="186908" y="23891"/>
                  <a:pt x="185752" y="18479"/>
                  <a:pt x="183356" y="14287"/>
                </a:cubicBezTo>
                <a:cubicBezTo>
                  <a:pt x="182111" y="12108"/>
                  <a:pt x="178626" y="12596"/>
                  <a:pt x="176212" y="11906"/>
                </a:cubicBezTo>
                <a:cubicBezTo>
                  <a:pt x="173065" y="11007"/>
                  <a:pt x="169862" y="10319"/>
                  <a:pt x="166687" y="9525"/>
                </a:cubicBezTo>
                <a:cubicBezTo>
                  <a:pt x="159068" y="-635"/>
                  <a:pt x="154781" y="1588"/>
                  <a:pt x="152400" y="0"/>
                </a:cubicBezTo>
                <a:close/>
              </a:path>
            </a:pathLst>
          </a:custGeom>
          <a:solidFill>
            <a:srgbClr val="7ABB3C"/>
          </a:solidFill>
          <a:ln>
            <a:solidFill>
              <a:srgbClr val="7ABB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67" name="Freeform 1966"/>
          <p:cNvSpPr/>
          <p:nvPr/>
        </p:nvSpPr>
        <p:spPr>
          <a:xfrm>
            <a:off x="6549333" y="1505164"/>
            <a:ext cx="438853" cy="745430"/>
          </a:xfrm>
          <a:custGeom>
            <a:avLst/>
            <a:gdLst>
              <a:gd name="connsiteX0" fmla="*/ 11906 w 512178"/>
              <a:gd name="connsiteY0" fmla="*/ 0 h 745430"/>
              <a:gd name="connsiteX1" fmla="*/ 11906 w 512178"/>
              <a:gd name="connsiteY1" fmla="*/ 0 h 745430"/>
              <a:gd name="connsiteX2" fmla="*/ 19050 w 512178"/>
              <a:gd name="connsiteY2" fmla="*/ 21432 h 745430"/>
              <a:gd name="connsiteX3" fmla="*/ 26194 w 512178"/>
              <a:gd name="connsiteY3" fmla="*/ 23813 h 745430"/>
              <a:gd name="connsiteX4" fmla="*/ 30956 w 512178"/>
              <a:gd name="connsiteY4" fmla="*/ 33338 h 745430"/>
              <a:gd name="connsiteX5" fmla="*/ 33337 w 512178"/>
              <a:gd name="connsiteY5" fmla="*/ 40482 h 745430"/>
              <a:gd name="connsiteX6" fmla="*/ 35719 w 512178"/>
              <a:gd name="connsiteY6" fmla="*/ 54769 h 745430"/>
              <a:gd name="connsiteX7" fmla="*/ 42862 w 512178"/>
              <a:gd name="connsiteY7" fmla="*/ 59532 h 745430"/>
              <a:gd name="connsiteX8" fmla="*/ 57150 w 512178"/>
              <a:gd name="connsiteY8" fmla="*/ 69057 h 745430"/>
              <a:gd name="connsiteX9" fmla="*/ 61912 w 512178"/>
              <a:gd name="connsiteY9" fmla="*/ 76200 h 745430"/>
              <a:gd name="connsiteX10" fmla="*/ 69056 w 512178"/>
              <a:gd name="connsiteY10" fmla="*/ 78582 h 745430"/>
              <a:gd name="connsiteX11" fmla="*/ 76200 w 512178"/>
              <a:gd name="connsiteY11" fmla="*/ 83344 h 745430"/>
              <a:gd name="connsiteX12" fmla="*/ 80962 w 512178"/>
              <a:gd name="connsiteY12" fmla="*/ 90488 h 745430"/>
              <a:gd name="connsiteX13" fmla="*/ 83344 w 512178"/>
              <a:gd name="connsiteY13" fmla="*/ 100013 h 745430"/>
              <a:gd name="connsiteX14" fmla="*/ 90487 w 512178"/>
              <a:gd name="connsiteY14" fmla="*/ 104775 h 745430"/>
              <a:gd name="connsiteX15" fmla="*/ 97631 w 512178"/>
              <a:gd name="connsiteY15" fmla="*/ 126207 h 745430"/>
              <a:gd name="connsiteX16" fmla="*/ 100012 w 512178"/>
              <a:gd name="connsiteY16" fmla="*/ 135732 h 745430"/>
              <a:gd name="connsiteX17" fmla="*/ 102394 w 512178"/>
              <a:gd name="connsiteY17" fmla="*/ 161925 h 745430"/>
              <a:gd name="connsiteX18" fmla="*/ 107156 w 512178"/>
              <a:gd name="connsiteY18" fmla="*/ 171450 h 745430"/>
              <a:gd name="connsiteX19" fmla="*/ 111919 w 512178"/>
              <a:gd name="connsiteY19" fmla="*/ 185738 h 745430"/>
              <a:gd name="connsiteX20" fmla="*/ 123825 w 512178"/>
              <a:gd name="connsiteY20" fmla="*/ 209550 h 745430"/>
              <a:gd name="connsiteX21" fmla="*/ 126206 w 512178"/>
              <a:gd name="connsiteY21" fmla="*/ 219075 h 745430"/>
              <a:gd name="connsiteX22" fmla="*/ 140494 w 512178"/>
              <a:gd name="connsiteY22" fmla="*/ 228600 h 745430"/>
              <a:gd name="connsiteX23" fmla="*/ 142875 w 512178"/>
              <a:gd name="connsiteY23" fmla="*/ 240507 h 745430"/>
              <a:gd name="connsiteX24" fmla="*/ 145256 w 512178"/>
              <a:gd name="connsiteY24" fmla="*/ 250032 h 745430"/>
              <a:gd name="connsiteX25" fmla="*/ 154781 w 512178"/>
              <a:gd name="connsiteY25" fmla="*/ 254794 h 745430"/>
              <a:gd name="connsiteX26" fmla="*/ 161925 w 512178"/>
              <a:gd name="connsiteY26" fmla="*/ 261938 h 745430"/>
              <a:gd name="connsiteX27" fmla="*/ 171450 w 512178"/>
              <a:gd name="connsiteY27" fmla="*/ 269082 h 745430"/>
              <a:gd name="connsiteX28" fmla="*/ 183356 w 512178"/>
              <a:gd name="connsiteY28" fmla="*/ 278607 h 745430"/>
              <a:gd name="connsiteX29" fmla="*/ 185737 w 512178"/>
              <a:gd name="connsiteY29" fmla="*/ 285750 h 745430"/>
              <a:gd name="connsiteX30" fmla="*/ 195262 w 512178"/>
              <a:gd name="connsiteY30" fmla="*/ 290513 h 745430"/>
              <a:gd name="connsiteX31" fmla="*/ 204787 w 512178"/>
              <a:gd name="connsiteY31" fmla="*/ 292894 h 745430"/>
              <a:gd name="connsiteX32" fmla="*/ 230981 w 512178"/>
              <a:gd name="connsiteY32" fmla="*/ 297657 h 745430"/>
              <a:gd name="connsiteX33" fmla="*/ 240506 w 512178"/>
              <a:gd name="connsiteY33" fmla="*/ 295275 h 745430"/>
              <a:gd name="connsiteX34" fmla="*/ 285750 w 512178"/>
              <a:gd name="connsiteY34" fmla="*/ 302419 h 745430"/>
              <a:gd name="connsiteX35" fmla="*/ 307181 w 512178"/>
              <a:gd name="connsiteY35" fmla="*/ 314325 h 745430"/>
              <a:gd name="connsiteX36" fmla="*/ 354806 w 512178"/>
              <a:gd name="connsiteY36" fmla="*/ 316707 h 745430"/>
              <a:gd name="connsiteX37" fmla="*/ 357187 w 512178"/>
              <a:gd name="connsiteY37" fmla="*/ 323850 h 745430"/>
              <a:gd name="connsiteX38" fmla="*/ 390525 w 512178"/>
              <a:gd name="connsiteY38" fmla="*/ 316707 h 745430"/>
              <a:gd name="connsiteX39" fmla="*/ 402431 w 512178"/>
              <a:gd name="connsiteY39" fmla="*/ 314325 h 745430"/>
              <a:gd name="connsiteX40" fmla="*/ 409575 w 512178"/>
              <a:gd name="connsiteY40" fmla="*/ 309563 h 745430"/>
              <a:gd name="connsiteX41" fmla="*/ 440531 w 512178"/>
              <a:gd name="connsiteY41" fmla="*/ 314325 h 745430"/>
              <a:gd name="connsiteX42" fmla="*/ 457200 w 512178"/>
              <a:gd name="connsiteY42" fmla="*/ 319088 h 745430"/>
              <a:gd name="connsiteX43" fmla="*/ 478631 w 512178"/>
              <a:gd name="connsiteY43" fmla="*/ 316707 h 745430"/>
              <a:gd name="connsiteX44" fmla="*/ 485775 w 512178"/>
              <a:gd name="connsiteY44" fmla="*/ 314325 h 745430"/>
              <a:gd name="connsiteX45" fmla="*/ 495300 w 512178"/>
              <a:gd name="connsiteY45" fmla="*/ 316707 h 745430"/>
              <a:gd name="connsiteX46" fmla="*/ 500062 w 512178"/>
              <a:gd name="connsiteY46" fmla="*/ 323850 h 745430"/>
              <a:gd name="connsiteX47" fmla="*/ 507206 w 512178"/>
              <a:gd name="connsiteY47" fmla="*/ 328613 h 745430"/>
              <a:gd name="connsiteX48" fmla="*/ 509587 w 512178"/>
              <a:gd name="connsiteY48" fmla="*/ 335757 h 745430"/>
              <a:gd name="connsiteX49" fmla="*/ 509587 w 512178"/>
              <a:gd name="connsiteY49" fmla="*/ 392907 h 745430"/>
              <a:gd name="connsiteX50" fmla="*/ 497681 w 512178"/>
              <a:gd name="connsiteY50" fmla="*/ 409575 h 745430"/>
              <a:gd name="connsiteX51" fmla="*/ 492919 w 512178"/>
              <a:gd name="connsiteY51" fmla="*/ 431007 h 745430"/>
              <a:gd name="connsiteX52" fmla="*/ 490537 w 512178"/>
              <a:gd name="connsiteY52" fmla="*/ 438150 h 745430"/>
              <a:gd name="connsiteX53" fmla="*/ 485775 w 512178"/>
              <a:gd name="connsiteY53" fmla="*/ 454819 h 745430"/>
              <a:gd name="connsiteX54" fmla="*/ 478631 w 512178"/>
              <a:gd name="connsiteY54" fmla="*/ 459582 h 745430"/>
              <a:gd name="connsiteX55" fmla="*/ 471487 w 512178"/>
              <a:gd name="connsiteY55" fmla="*/ 473869 h 745430"/>
              <a:gd name="connsiteX56" fmla="*/ 464344 w 512178"/>
              <a:gd name="connsiteY56" fmla="*/ 488157 h 745430"/>
              <a:gd name="connsiteX57" fmla="*/ 457200 w 512178"/>
              <a:gd name="connsiteY57" fmla="*/ 514350 h 745430"/>
              <a:gd name="connsiteX58" fmla="*/ 452437 w 512178"/>
              <a:gd name="connsiteY58" fmla="*/ 521494 h 745430"/>
              <a:gd name="connsiteX59" fmla="*/ 445294 w 512178"/>
              <a:gd name="connsiteY59" fmla="*/ 523875 h 745430"/>
              <a:gd name="connsiteX60" fmla="*/ 442912 w 512178"/>
              <a:gd name="connsiteY60" fmla="*/ 531019 h 745430"/>
              <a:gd name="connsiteX61" fmla="*/ 428625 w 512178"/>
              <a:gd name="connsiteY61" fmla="*/ 542925 h 745430"/>
              <a:gd name="connsiteX62" fmla="*/ 423862 w 512178"/>
              <a:gd name="connsiteY62" fmla="*/ 550069 h 745430"/>
              <a:gd name="connsiteX63" fmla="*/ 414337 w 512178"/>
              <a:gd name="connsiteY63" fmla="*/ 552450 h 745430"/>
              <a:gd name="connsiteX64" fmla="*/ 409575 w 512178"/>
              <a:gd name="connsiteY64" fmla="*/ 566738 h 745430"/>
              <a:gd name="connsiteX65" fmla="*/ 407194 w 512178"/>
              <a:gd name="connsiteY65" fmla="*/ 573882 h 745430"/>
              <a:gd name="connsiteX66" fmla="*/ 404812 w 512178"/>
              <a:gd name="connsiteY66" fmla="*/ 590550 h 745430"/>
              <a:gd name="connsiteX67" fmla="*/ 402431 w 512178"/>
              <a:gd name="connsiteY67" fmla="*/ 597694 h 745430"/>
              <a:gd name="connsiteX68" fmla="*/ 395287 w 512178"/>
              <a:gd name="connsiteY68" fmla="*/ 602457 h 745430"/>
              <a:gd name="connsiteX69" fmla="*/ 392906 w 512178"/>
              <a:gd name="connsiteY69" fmla="*/ 609600 h 745430"/>
              <a:gd name="connsiteX70" fmla="*/ 388144 w 512178"/>
              <a:gd name="connsiteY70" fmla="*/ 669132 h 745430"/>
              <a:gd name="connsiteX71" fmla="*/ 383381 w 512178"/>
              <a:gd name="connsiteY71" fmla="*/ 685800 h 745430"/>
              <a:gd name="connsiteX72" fmla="*/ 376237 w 512178"/>
              <a:gd name="connsiteY72" fmla="*/ 690563 h 745430"/>
              <a:gd name="connsiteX73" fmla="*/ 369094 w 512178"/>
              <a:gd name="connsiteY73" fmla="*/ 704850 h 745430"/>
              <a:gd name="connsiteX74" fmla="*/ 361950 w 512178"/>
              <a:gd name="connsiteY74" fmla="*/ 719138 h 745430"/>
              <a:gd name="connsiteX75" fmla="*/ 364331 w 512178"/>
              <a:gd name="connsiteY75" fmla="*/ 740569 h 745430"/>
              <a:gd name="connsiteX76" fmla="*/ 357187 w 512178"/>
              <a:gd name="connsiteY76" fmla="*/ 745332 h 745430"/>
              <a:gd name="connsiteX77" fmla="*/ 335756 w 512178"/>
              <a:gd name="connsiteY77" fmla="*/ 742950 h 745430"/>
              <a:gd name="connsiteX78" fmla="*/ 307181 w 512178"/>
              <a:gd name="connsiteY78" fmla="*/ 740569 h 745430"/>
              <a:gd name="connsiteX79" fmla="*/ 292894 w 512178"/>
              <a:gd name="connsiteY79" fmla="*/ 731044 h 745430"/>
              <a:gd name="connsiteX80" fmla="*/ 276225 w 512178"/>
              <a:gd name="connsiteY80" fmla="*/ 721519 h 745430"/>
              <a:gd name="connsiteX81" fmla="*/ 266700 w 512178"/>
              <a:gd name="connsiteY81" fmla="*/ 714375 h 745430"/>
              <a:gd name="connsiteX82" fmla="*/ 257175 w 512178"/>
              <a:gd name="connsiteY82" fmla="*/ 702469 h 745430"/>
              <a:gd name="connsiteX83" fmla="*/ 254794 w 512178"/>
              <a:gd name="connsiteY83" fmla="*/ 692944 h 745430"/>
              <a:gd name="connsiteX84" fmla="*/ 250031 w 512178"/>
              <a:gd name="connsiteY84" fmla="*/ 685800 h 745430"/>
              <a:gd name="connsiteX85" fmla="*/ 247650 w 512178"/>
              <a:gd name="connsiteY85" fmla="*/ 673894 h 745430"/>
              <a:gd name="connsiteX86" fmla="*/ 240506 w 512178"/>
              <a:gd name="connsiteY86" fmla="*/ 633413 h 745430"/>
              <a:gd name="connsiteX87" fmla="*/ 233362 w 512178"/>
              <a:gd name="connsiteY87" fmla="*/ 631032 h 745430"/>
              <a:gd name="connsiteX88" fmla="*/ 228600 w 512178"/>
              <a:gd name="connsiteY88" fmla="*/ 623888 h 745430"/>
              <a:gd name="connsiteX89" fmla="*/ 223837 w 512178"/>
              <a:gd name="connsiteY89" fmla="*/ 585788 h 745430"/>
              <a:gd name="connsiteX90" fmla="*/ 216694 w 512178"/>
              <a:gd name="connsiteY90" fmla="*/ 578644 h 745430"/>
              <a:gd name="connsiteX91" fmla="*/ 204787 w 512178"/>
              <a:gd name="connsiteY91" fmla="*/ 566738 h 745430"/>
              <a:gd name="connsiteX92" fmla="*/ 200025 w 512178"/>
              <a:gd name="connsiteY92" fmla="*/ 557213 h 745430"/>
              <a:gd name="connsiteX93" fmla="*/ 200025 w 512178"/>
              <a:gd name="connsiteY93" fmla="*/ 507207 h 745430"/>
              <a:gd name="connsiteX94" fmla="*/ 192881 w 512178"/>
              <a:gd name="connsiteY94" fmla="*/ 502444 h 745430"/>
              <a:gd name="connsiteX95" fmla="*/ 183356 w 512178"/>
              <a:gd name="connsiteY95" fmla="*/ 495300 h 745430"/>
              <a:gd name="connsiteX96" fmla="*/ 171450 w 512178"/>
              <a:gd name="connsiteY96" fmla="*/ 481013 h 745430"/>
              <a:gd name="connsiteX97" fmla="*/ 164306 w 512178"/>
              <a:gd name="connsiteY97" fmla="*/ 478632 h 745430"/>
              <a:gd name="connsiteX98" fmla="*/ 157162 w 512178"/>
              <a:gd name="connsiteY98" fmla="*/ 473869 h 745430"/>
              <a:gd name="connsiteX99" fmla="*/ 130969 w 512178"/>
              <a:gd name="connsiteY99" fmla="*/ 469107 h 745430"/>
              <a:gd name="connsiteX100" fmla="*/ 123825 w 512178"/>
              <a:gd name="connsiteY100" fmla="*/ 466725 h 745430"/>
              <a:gd name="connsiteX101" fmla="*/ 114300 w 512178"/>
              <a:gd name="connsiteY101" fmla="*/ 464344 h 745430"/>
              <a:gd name="connsiteX102" fmla="*/ 102394 w 512178"/>
              <a:gd name="connsiteY102" fmla="*/ 459582 h 745430"/>
              <a:gd name="connsiteX103" fmla="*/ 95250 w 512178"/>
              <a:gd name="connsiteY103" fmla="*/ 457200 h 745430"/>
              <a:gd name="connsiteX104" fmla="*/ 92869 w 512178"/>
              <a:gd name="connsiteY104" fmla="*/ 426244 h 745430"/>
              <a:gd name="connsiteX105" fmla="*/ 83344 w 512178"/>
              <a:gd name="connsiteY105" fmla="*/ 416719 h 745430"/>
              <a:gd name="connsiteX106" fmla="*/ 73819 w 512178"/>
              <a:gd name="connsiteY106" fmla="*/ 402432 h 745430"/>
              <a:gd name="connsiteX107" fmla="*/ 71437 w 512178"/>
              <a:gd name="connsiteY107" fmla="*/ 388144 h 745430"/>
              <a:gd name="connsiteX108" fmla="*/ 66675 w 512178"/>
              <a:gd name="connsiteY108" fmla="*/ 373857 h 745430"/>
              <a:gd name="connsiteX109" fmla="*/ 64294 w 512178"/>
              <a:gd name="connsiteY109" fmla="*/ 338138 h 745430"/>
              <a:gd name="connsiteX110" fmla="*/ 57150 w 512178"/>
              <a:gd name="connsiteY110" fmla="*/ 330994 h 745430"/>
              <a:gd name="connsiteX111" fmla="*/ 54769 w 512178"/>
              <a:gd name="connsiteY111" fmla="*/ 323850 h 745430"/>
              <a:gd name="connsiteX112" fmla="*/ 64294 w 512178"/>
              <a:gd name="connsiteY112" fmla="*/ 264319 h 745430"/>
              <a:gd name="connsiteX113" fmla="*/ 69056 w 512178"/>
              <a:gd name="connsiteY113" fmla="*/ 257175 h 745430"/>
              <a:gd name="connsiteX114" fmla="*/ 61912 w 512178"/>
              <a:gd name="connsiteY114" fmla="*/ 223838 h 745430"/>
              <a:gd name="connsiteX115" fmla="*/ 57150 w 512178"/>
              <a:gd name="connsiteY115" fmla="*/ 216694 h 745430"/>
              <a:gd name="connsiteX116" fmla="*/ 54769 w 512178"/>
              <a:gd name="connsiteY116" fmla="*/ 207169 h 745430"/>
              <a:gd name="connsiteX117" fmla="*/ 52387 w 512178"/>
              <a:gd name="connsiteY117" fmla="*/ 195263 h 745430"/>
              <a:gd name="connsiteX118" fmla="*/ 47625 w 512178"/>
              <a:gd name="connsiteY118" fmla="*/ 188119 h 745430"/>
              <a:gd name="connsiteX119" fmla="*/ 40481 w 512178"/>
              <a:gd name="connsiteY119" fmla="*/ 171450 h 745430"/>
              <a:gd name="connsiteX120" fmla="*/ 30956 w 512178"/>
              <a:gd name="connsiteY120" fmla="*/ 150019 h 745430"/>
              <a:gd name="connsiteX121" fmla="*/ 23812 w 512178"/>
              <a:gd name="connsiteY121" fmla="*/ 145257 h 745430"/>
              <a:gd name="connsiteX122" fmla="*/ 21431 w 512178"/>
              <a:gd name="connsiteY122" fmla="*/ 135732 h 745430"/>
              <a:gd name="connsiteX123" fmla="*/ 7144 w 512178"/>
              <a:gd name="connsiteY123" fmla="*/ 130969 h 745430"/>
              <a:gd name="connsiteX124" fmla="*/ 2381 w 512178"/>
              <a:gd name="connsiteY124" fmla="*/ 100013 h 745430"/>
              <a:gd name="connsiteX125" fmla="*/ 0 w 512178"/>
              <a:gd name="connsiteY125" fmla="*/ 59532 h 745430"/>
              <a:gd name="connsiteX126" fmla="*/ 2381 w 512178"/>
              <a:gd name="connsiteY126" fmla="*/ 14288 h 745430"/>
              <a:gd name="connsiteX127" fmla="*/ 11906 w 512178"/>
              <a:gd name="connsiteY127" fmla="*/ 0 h 7454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512178" h="745430">
                <a:moveTo>
                  <a:pt x="11906" y="0"/>
                </a:moveTo>
                <a:lnTo>
                  <a:pt x="11906" y="0"/>
                </a:lnTo>
                <a:cubicBezTo>
                  <a:pt x="14287" y="7144"/>
                  <a:pt x="15176" y="14975"/>
                  <a:pt x="19050" y="21432"/>
                </a:cubicBezTo>
                <a:cubicBezTo>
                  <a:pt x="20341" y="23584"/>
                  <a:pt x="24419" y="22038"/>
                  <a:pt x="26194" y="23813"/>
                </a:cubicBezTo>
                <a:cubicBezTo>
                  <a:pt x="28704" y="26323"/>
                  <a:pt x="29558" y="30075"/>
                  <a:pt x="30956" y="33338"/>
                </a:cubicBezTo>
                <a:cubicBezTo>
                  <a:pt x="31945" y="35645"/>
                  <a:pt x="32792" y="38032"/>
                  <a:pt x="33337" y="40482"/>
                </a:cubicBezTo>
                <a:cubicBezTo>
                  <a:pt x="34384" y="45195"/>
                  <a:pt x="33560" y="50451"/>
                  <a:pt x="35719" y="54769"/>
                </a:cubicBezTo>
                <a:cubicBezTo>
                  <a:pt x="36999" y="57329"/>
                  <a:pt x="40664" y="57700"/>
                  <a:pt x="42862" y="59532"/>
                </a:cubicBezTo>
                <a:cubicBezTo>
                  <a:pt x="54752" y="69440"/>
                  <a:pt x="44597" y="64871"/>
                  <a:pt x="57150" y="69057"/>
                </a:cubicBezTo>
                <a:cubicBezTo>
                  <a:pt x="58737" y="71438"/>
                  <a:pt x="59677" y="74412"/>
                  <a:pt x="61912" y="76200"/>
                </a:cubicBezTo>
                <a:cubicBezTo>
                  <a:pt x="63872" y="77768"/>
                  <a:pt x="66811" y="77459"/>
                  <a:pt x="69056" y="78582"/>
                </a:cubicBezTo>
                <a:cubicBezTo>
                  <a:pt x="71616" y="79862"/>
                  <a:pt x="73819" y="81757"/>
                  <a:pt x="76200" y="83344"/>
                </a:cubicBezTo>
                <a:cubicBezTo>
                  <a:pt x="77787" y="85725"/>
                  <a:pt x="79835" y="87858"/>
                  <a:pt x="80962" y="90488"/>
                </a:cubicBezTo>
                <a:cubicBezTo>
                  <a:pt x="82251" y="93496"/>
                  <a:pt x="81529" y="97290"/>
                  <a:pt x="83344" y="100013"/>
                </a:cubicBezTo>
                <a:cubicBezTo>
                  <a:pt x="84931" y="102394"/>
                  <a:pt x="88106" y="103188"/>
                  <a:pt x="90487" y="104775"/>
                </a:cubicBezTo>
                <a:lnTo>
                  <a:pt x="97631" y="126207"/>
                </a:lnTo>
                <a:cubicBezTo>
                  <a:pt x="98666" y="129312"/>
                  <a:pt x="99218" y="132557"/>
                  <a:pt x="100012" y="135732"/>
                </a:cubicBezTo>
                <a:cubicBezTo>
                  <a:pt x="100806" y="144463"/>
                  <a:pt x="100675" y="153328"/>
                  <a:pt x="102394" y="161925"/>
                </a:cubicBezTo>
                <a:cubicBezTo>
                  <a:pt x="103090" y="165406"/>
                  <a:pt x="105838" y="168154"/>
                  <a:pt x="107156" y="171450"/>
                </a:cubicBezTo>
                <a:cubicBezTo>
                  <a:pt x="109020" y="176111"/>
                  <a:pt x="110702" y="180868"/>
                  <a:pt x="111919" y="185738"/>
                </a:cubicBezTo>
                <a:cubicBezTo>
                  <a:pt x="117375" y="207564"/>
                  <a:pt x="111235" y="201158"/>
                  <a:pt x="123825" y="209550"/>
                </a:cubicBezTo>
                <a:cubicBezTo>
                  <a:pt x="124619" y="212725"/>
                  <a:pt x="124051" y="216612"/>
                  <a:pt x="126206" y="219075"/>
                </a:cubicBezTo>
                <a:cubicBezTo>
                  <a:pt x="129975" y="223383"/>
                  <a:pt x="140494" y="228600"/>
                  <a:pt x="140494" y="228600"/>
                </a:cubicBezTo>
                <a:cubicBezTo>
                  <a:pt x="141288" y="232569"/>
                  <a:pt x="141997" y="236556"/>
                  <a:pt x="142875" y="240507"/>
                </a:cubicBezTo>
                <a:cubicBezTo>
                  <a:pt x="143585" y="243702"/>
                  <a:pt x="143161" y="247518"/>
                  <a:pt x="145256" y="250032"/>
                </a:cubicBezTo>
                <a:cubicBezTo>
                  <a:pt x="147528" y="252759"/>
                  <a:pt x="151606" y="253207"/>
                  <a:pt x="154781" y="254794"/>
                </a:cubicBezTo>
                <a:cubicBezTo>
                  <a:pt x="157162" y="257175"/>
                  <a:pt x="159368" y="259746"/>
                  <a:pt x="161925" y="261938"/>
                </a:cubicBezTo>
                <a:cubicBezTo>
                  <a:pt x="164938" y="264521"/>
                  <a:pt x="168644" y="266276"/>
                  <a:pt x="171450" y="269082"/>
                </a:cubicBezTo>
                <a:cubicBezTo>
                  <a:pt x="182221" y="279853"/>
                  <a:pt x="169448" y="273970"/>
                  <a:pt x="183356" y="278607"/>
                </a:cubicBezTo>
                <a:cubicBezTo>
                  <a:pt x="184150" y="280988"/>
                  <a:pt x="183962" y="283975"/>
                  <a:pt x="185737" y="285750"/>
                </a:cubicBezTo>
                <a:cubicBezTo>
                  <a:pt x="188247" y="288260"/>
                  <a:pt x="191938" y="289267"/>
                  <a:pt x="195262" y="290513"/>
                </a:cubicBezTo>
                <a:cubicBezTo>
                  <a:pt x="198326" y="291662"/>
                  <a:pt x="201578" y="292252"/>
                  <a:pt x="204787" y="292894"/>
                </a:cubicBezTo>
                <a:cubicBezTo>
                  <a:pt x="213489" y="294634"/>
                  <a:pt x="222250" y="296069"/>
                  <a:pt x="230981" y="297657"/>
                </a:cubicBezTo>
                <a:cubicBezTo>
                  <a:pt x="234156" y="296863"/>
                  <a:pt x="237233" y="295275"/>
                  <a:pt x="240506" y="295275"/>
                </a:cubicBezTo>
                <a:cubicBezTo>
                  <a:pt x="255932" y="295275"/>
                  <a:pt x="270925" y="298713"/>
                  <a:pt x="285750" y="302419"/>
                </a:cubicBezTo>
                <a:cubicBezTo>
                  <a:pt x="289943" y="305214"/>
                  <a:pt x="299950" y="313696"/>
                  <a:pt x="307181" y="314325"/>
                </a:cubicBezTo>
                <a:cubicBezTo>
                  <a:pt x="323016" y="315702"/>
                  <a:pt x="338931" y="315913"/>
                  <a:pt x="354806" y="316707"/>
                </a:cubicBezTo>
                <a:cubicBezTo>
                  <a:pt x="355600" y="319088"/>
                  <a:pt x="354711" y="323437"/>
                  <a:pt x="357187" y="323850"/>
                </a:cubicBezTo>
                <a:cubicBezTo>
                  <a:pt x="396231" y="330357"/>
                  <a:pt x="372822" y="323346"/>
                  <a:pt x="390525" y="316707"/>
                </a:cubicBezTo>
                <a:cubicBezTo>
                  <a:pt x="394315" y="315286"/>
                  <a:pt x="398462" y="315119"/>
                  <a:pt x="402431" y="314325"/>
                </a:cubicBezTo>
                <a:cubicBezTo>
                  <a:pt x="404812" y="312738"/>
                  <a:pt x="406722" y="309782"/>
                  <a:pt x="409575" y="309563"/>
                </a:cubicBezTo>
                <a:cubicBezTo>
                  <a:pt x="429180" y="308055"/>
                  <a:pt x="427929" y="310724"/>
                  <a:pt x="440531" y="314325"/>
                </a:cubicBezTo>
                <a:cubicBezTo>
                  <a:pt x="461462" y="320306"/>
                  <a:pt x="440071" y="313379"/>
                  <a:pt x="457200" y="319088"/>
                </a:cubicBezTo>
                <a:cubicBezTo>
                  <a:pt x="464344" y="318294"/>
                  <a:pt x="471541" y="317889"/>
                  <a:pt x="478631" y="316707"/>
                </a:cubicBezTo>
                <a:cubicBezTo>
                  <a:pt x="481107" y="316294"/>
                  <a:pt x="483265" y="314325"/>
                  <a:pt x="485775" y="314325"/>
                </a:cubicBezTo>
                <a:cubicBezTo>
                  <a:pt x="489048" y="314325"/>
                  <a:pt x="492125" y="315913"/>
                  <a:pt x="495300" y="316707"/>
                </a:cubicBezTo>
                <a:cubicBezTo>
                  <a:pt x="496887" y="319088"/>
                  <a:pt x="498039" y="321827"/>
                  <a:pt x="500062" y="323850"/>
                </a:cubicBezTo>
                <a:cubicBezTo>
                  <a:pt x="502086" y="325874"/>
                  <a:pt x="505418" y="326378"/>
                  <a:pt x="507206" y="328613"/>
                </a:cubicBezTo>
                <a:cubicBezTo>
                  <a:pt x="508774" y="330573"/>
                  <a:pt x="508793" y="333376"/>
                  <a:pt x="509587" y="335757"/>
                </a:cubicBezTo>
                <a:cubicBezTo>
                  <a:pt x="512149" y="361366"/>
                  <a:pt x="513835" y="364586"/>
                  <a:pt x="509587" y="392907"/>
                </a:cubicBezTo>
                <a:cubicBezTo>
                  <a:pt x="507247" y="408503"/>
                  <a:pt x="507979" y="406143"/>
                  <a:pt x="497681" y="409575"/>
                </a:cubicBezTo>
                <a:cubicBezTo>
                  <a:pt x="496046" y="417752"/>
                  <a:pt x="495160" y="423166"/>
                  <a:pt x="492919" y="431007"/>
                </a:cubicBezTo>
                <a:cubicBezTo>
                  <a:pt x="492229" y="433420"/>
                  <a:pt x="491227" y="435737"/>
                  <a:pt x="490537" y="438150"/>
                </a:cubicBezTo>
                <a:cubicBezTo>
                  <a:pt x="490347" y="438815"/>
                  <a:pt x="487044" y="453233"/>
                  <a:pt x="485775" y="454819"/>
                </a:cubicBezTo>
                <a:cubicBezTo>
                  <a:pt x="483987" y="457054"/>
                  <a:pt x="481012" y="457994"/>
                  <a:pt x="478631" y="459582"/>
                </a:cubicBezTo>
                <a:cubicBezTo>
                  <a:pt x="472646" y="477538"/>
                  <a:pt x="480721" y="455402"/>
                  <a:pt x="471487" y="473869"/>
                </a:cubicBezTo>
                <a:cubicBezTo>
                  <a:pt x="461624" y="493595"/>
                  <a:pt x="477997" y="467674"/>
                  <a:pt x="464344" y="488157"/>
                </a:cubicBezTo>
                <a:cubicBezTo>
                  <a:pt x="460977" y="504985"/>
                  <a:pt x="463242" y="496223"/>
                  <a:pt x="457200" y="514350"/>
                </a:cubicBezTo>
                <a:cubicBezTo>
                  <a:pt x="456295" y="517065"/>
                  <a:pt x="454672" y="519706"/>
                  <a:pt x="452437" y="521494"/>
                </a:cubicBezTo>
                <a:cubicBezTo>
                  <a:pt x="450477" y="523062"/>
                  <a:pt x="447675" y="523081"/>
                  <a:pt x="445294" y="523875"/>
                </a:cubicBezTo>
                <a:cubicBezTo>
                  <a:pt x="444500" y="526256"/>
                  <a:pt x="444304" y="528930"/>
                  <a:pt x="442912" y="531019"/>
                </a:cubicBezTo>
                <a:cubicBezTo>
                  <a:pt x="439243" y="536522"/>
                  <a:pt x="433899" y="539410"/>
                  <a:pt x="428625" y="542925"/>
                </a:cubicBezTo>
                <a:cubicBezTo>
                  <a:pt x="427037" y="545306"/>
                  <a:pt x="426243" y="548481"/>
                  <a:pt x="423862" y="550069"/>
                </a:cubicBezTo>
                <a:cubicBezTo>
                  <a:pt x="421139" y="551884"/>
                  <a:pt x="416467" y="549965"/>
                  <a:pt x="414337" y="552450"/>
                </a:cubicBezTo>
                <a:cubicBezTo>
                  <a:pt x="411070" y="556262"/>
                  <a:pt x="411162" y="561975"/>
                  <a:pt x="409575" y="566738"/>
                </a:cubicBezTo>
                <a:lnTo>
                  <a:pt x="407194" y="573882"/>
                </a:lnTo>
                <a:cubicBezTo>
                  <a:pt x="406400" y="579438"/>
                  <a:pt x="405913" y="585047"/>
                  <a:pt x="404812" y="590550"/>
                </a:cubicBezTo>
                <a:cubicBezTo>
                  <a:pt x="404320" y="593011"/>
                  <a:pt x="403999" y="595734"/>
                  <a:pt x="402431" y="597694"/>
                </a:cubicBezTo>
                <a:cubicBezTo>
                  <a:pt x="400643" y="599929"/>
                  <a:pt x="397668" y="600869"/>
                  <a:pt x="395287" y="602457"/>
                </a:cubicBezTo>
                <a:cubicBezTo>
                  <a:pt x="394493" y="604838"/>
                  <a:pt x="393515" y="607165"/>
                  <a:pt x="392906" y="609600"/>
                </a:cubicBezTo>
                <a:cubicBezTo>
                  <a:pt x="387438" y="631475"/>
                  <a:pt x="390611" y="639526"/>
                  <a:pt x="388144" y="669132"/>
                </a:cubicBezTo>
                <a:cubicBezTo>
                  <a:pt x="388104" y="669608"/>
                  <a:pt x="384534" y="684359"/>
                  <a:pt x="383381" y="685800"/>
                </a:cubicBezTo>
                <a:cubicBezTo>
                  <a:pt x="381593" y="688035"/>
                  <a:pt x="378618" y="688975"/>
                  <a:pt x="376237" y="690563"/>
                </a:cubicBezTo>
                <a:cubicBezTo>
                  <a:pt x="370254" y="708514"/>
                  <a:pt x="378323" y="686393"/>
                  <a:pt x="369094" y="704850"/>
                </a:cubicBezTo>
                <a:cubicBezTo>
                  <a:pt x="359232" y="724572"/>
                  <a:pt x="375600" y="698660"/>
                  <a:pt x="361950" y="719138"/>
                </a:cubicBezTo>
                <a:cubicBezTo>
                  <a:pt x="362744" y="726282"/>
                  <a:pt x="365617" y="733497"/>
                  <a:pt x="364331" y="740569"/>
                </a:cubicBezTo>
                <a:cubicBezTo>
                  <a:pt x="363819" y="743385"/>
                  <a:pt x="360039" y="745094"/>
                  <a:pt x="357187" y="745332"/>
                </a:cubicBezTo>
                <a:cubicBezTo>
                  <a:pt x="350024" y="745929"/>
                  <a:pt x="342911" y="743632"/>
                  <a:pt x="335756" y="742950"/>
                </a:cubicBezTo>
                <a:cubicBezTo>
                  <a:pt x="326241" y="742044"/>
                  <a:pt x="316706" y="741363"/>
                  <a:pt x="307181" y="740569"/>
                </a:cubicBezTo>
                <a:cubicBezTo>
                  <a:pt x="296881" y="725117"/>
                  <a:pt x="309453" y="740506"/>
                  <a:pt x="292894" y="731044"/>
                </a:cubicBezTo>
                <a:cubicBezTo>
                  <a:pt x="270825" y="718434"/>
                  <a:pt x="301272" y="727780"/>
                  <a:pt x="276225" y="721519"/>
                </a:cubicBezTo>
                <a:cubicBezTo>
                  <a:pt x="273050" y="719138"/>
                  <a:pt x="269241" y="717424"/>
                  <a:pt x="266700" y="714375"/>
                </a:cubicBezTo>
                <a:cubicBezTo>
                  <a:pt x="252322" y="697122"/>
                  <a:pt x="279056" y="717057"/>
                  <a:pt x="257175" y="702469"/>
                </a:cubicBezTo>
                <a:cubicBezTo>
                  <a:pt x="256381" y="699294"/>
                  <a:pt x="256083" y="695952"/>
                  <a:pt x="254794" y="692944"/>
                </a:cubicBezTo>
                <a:cubicBezTo>
                  <a:pt x="253667" y="690313"/>
                  <a:pt x="251036" y="688480"/>
                  <a:pt x="250031" y="685800"/>
                </a:cubicBezTo>
                <a:cubicBezTo>
                  <a:pt x="248610" y="682010"/>
                  <a:pt x="248444" y="677863"/>
                  <a:pt x="247650" y="673894"/>
                </a:cubicBezTo>
                <a:cubicBezTo>
                  <a:pt x="247324" y="669324"/>
                  <a:pt x="250869" y="641703"/>
                  <a:pt x="240506" y="633413"/>
                </a:cubicBezTo>
                <a:cubicBezTo>
                  <a:pt x="238546" y="631845"/>
                  <a:pt x="235743" y="631826"/>
                  <a:pt x="233362" y="631032"/>
                </a:cubicBezTo>
                <a:cubicBezTo>
                  <a:pt x="231775" y="628651"/>
                  <a:pt x="229880" y="626448"/>
                  <a:pt x="228600" y="623888"/>
                </a:cubicBezTo>
                <a:cubicBezTo>
                  <a:pt x="222965" y="612617"/>
                  <a:pt x="226336" y="595784"/>
                  <a:pt x="223837" y="585788"/>
                </a:cubicBezTo>
                <a:cubicBezTo>
                  <a:pt x="223020" y="582521"/>
                  <a:pt x="218850" y="581231"/>
                  <a:pt x="216694" y="578644"/>
                </a:cubicBezTo>
                <a:cubicBezTo>
                  <a:pt x="206774" y="566740"/>
                  <a:pt x="217881" y="575466"/>
                  <a:pt x="204787" y="566738"/>
                </a:cubicBezTo>
                <a:cubicBezTo>
                  <a:pt x="203200" y="563563"/>
                  <a:pt x="200222" y="560757"/>
                  <a:pt x="200025" y="557213"/>
                </a:cubicBezTo>
                <a:cubicBezTo>
                  <a:pt x="199525" y="548203"/>
                  <a:pt x="205634" y="519828"/>
                  <a:pt x="200025" y="507207"/>
                </a:cubicBezTo>
                <a:cubicBezTo>
                  <a:pt x="198863" y="504592"/>
                  <a:pt x="195210" y="504108"/>
                  <a:pt x="192881" y="502444"/>
                </a:cubicBezTo>
                <a:cubicBezTo>
                  <a:pt x="189652" y="500137"/>
                  <a:pt x="186162" y="498106"/>
                  <a:pt x="183356" y="495300"/>
                </a:cubicBezTo>
                <a:cubicBezTo>
                  <a:pt x="174571" y="486515"/>
                  <a:pt x="183153" y="488815"/>
                  <a:pt x="171450" y="481013"/>
                </a:cubicBezTo>
                <a:cubicBezTo>
                  <a:pt x="169361" y="479621"/>
                  <a:pt x="166687" y="479426"/>
                  <a:pt x="164306" y="478632"/>
                </a:cubicBezTo>
                <a:cubicBezTo>
                  <a:pt x="161925" y="477044"/>
                  <a:pt x="159793" y="474996"/>
                  <a:pt x="157162" y="473869"/>
                </a:cubicBezTo>
                <a:cubicBezTo>
                  <a:pt x="151550" y="471464"/>
                  <a:pt x="134830" y="469658"/>
                  <a:pt x="130969" y="469107"/>
                </a:cubicBezTo>
                <a:cubicBezTo>
                  <a:pt x="128588" y="468313"/>
                  <a:pt x="126239" y="467415"/>
                  <a:pt x="123825" y="466725"/>
                </a:cubicBezTo>
                <a:cubicBezTo>
                  <a:pt x="120678" y="465826"/>
                  <a:pt x="117405" y="465379"/>
                  <a:pt x="114300" y="464344"/>
                </a:cubicBezTo>
                <a:cubicBezTo>
                  <a:pt x="110245" y="462992"/>
                  <a:pt x="106396" y="461083"/>
                  <a:pt x="102394" y="459582"/>
                </a:cubicBezTo>
                <a:cubicBezTo>
                  <a:pt x="100044" y="458701"/>
                  <a:pt x="97631" y="457994"/>
                  <a:pt x="95250" y="457200"/>
                </a:cubicBezTo>
                <a:cubicBezTo>
                  <a:pt x="94456" y="446881"/>
                  <a:pt x="95789" y="436173"/>
                  <a:pt x="92869" y="426244"/>
                </a:cubicBezTo>
                <a:cubicBezTo>
                  <a:pt x="91602" y="421936"/>
                  <a:pt x="85954" y="420373"/>
                  <a:pt x="83344" y="416719"/>
                </a:cubicBezTo>
                <a:cubicBezTo>
                  <a:pt x="66113" y="392597"/>
                  <a:pt x="101227" y="429840"/>
                  <a:pt x="73819" y="402432"/>
                </a:cubicBezTo>
                <a:cubicBezTo>
                  <a:pt x="73025" y="397669"/>
                  <a:pt x="72608" y="392828"/>
                  <a:pt x="71437" y="388144"/>
                </a:cubicBezTo>
                <a:cubicBezTo>
                  <a:pt x="70219" y="383274"/>
                  <a:pt x="66675" y="373857"/>
                  <a:pt x="66675" y="373857"/>
                </a:cubicBezTo>
                <a:cubicBezTo>
                  <a:pt x="65881" y="361951"/>
                  <a:pt x="66883" y="349787"/>
                  <a:pt x="64294" y="338138"/>
                </a:cubicBezTo>
                <a:cubicBezTo>
                  <a:pt x="63563" y="334850"/>
                  <a:pt x="59018" y="333796"/>
                  <a:pt x="57150" y="330994"/>
                </a:cubicBezTo>
                <a:cubicBezTo>
                  <a:pt x="55758" y="328905"/>
                  <a:pt x="55563" y="326231"/>
                  <a:pt x="54769" y="323850"/>
                </a:cubicBezTo>
                <a:cubicBezTo>
                  <a:pt x="60057" y="273614"/>
                  <a:pt x="54735" y="292993"/>
                  <a:pt x="64294" y="264319"/>
                </a:cubicBezTo>
                <a:cubicBezTo>
                  <a:pt x="65199" y="261604"/>
                  <a:pt x="67469" y="259556"/>
                  <a:pt x="69056" y="257175"/>
                </a:cubicBezTo>
                <a:cubicBezTo>
                  <a:pt x="68048" y="249110"/>
                  <a:pt x="67134" y="231671"/>
                  <a:pt x="61912" y="223838"/>
                </a:cubicBezTo>
                <a:lnTo>
                  <a:pt x="57150" y="216694"/>
                </a:lnTo>
                <a:cubicBezTo>
                  <a:pt x="56356" y="213519"/>
                  <a:pt x="55479" y="210364"/>
                  <a:pt x="54769" y="207169"/>
                </a:cubicBezTo>
                <a:cubicBezTo>
                  <a:pt x="53891" y="203218"/>
                  <a:pt x="53808" y="199053"/>
                  <a:pt x="52387" y="195263"/>
                </a:cubicBezTo>
                <a:cubicBezTo>
                  <a:pt x="51382" y="192583"/>
                  <a:pt x="49212" y="190500"/>
                  <a:pt x="47625" y="188119"/>
                </a:cubicBezTo>
                <a:cubicBezTo>
                  <a:pt x="41327" y="162923"/>
                  <a:pt x="49878" y="192594"/>
                  <a:pt x="40481" y="171450"/>
                </a:cubicBezTo>
                <a:cubicBezTo>
                  <a:pt x="36708" y="162960"/>
                  <a:pt x="37424" y="156486"/>
                  <a:pt x="30956" y="150019"/>
                </a:cubicBezTo>
                <a:cubicBezTo>
                  <a:pt x="28932" y="147995"/>
                  <a:pt x="26193" y="146844"/>
                  <a:pt x="23812" y="145257"/>
                </a:cubicBezTo>
                <a:cubicBezTo>
                  <a:pt x="23018" y="142082"/>
                  <a:pt x="23916" y="137862"/>
                  <a:pt x="21431" y="135732"/>
                </a:cubicBezTo>
                <a:cubicBezTo>
                  <a:pt x="17620" y="132465"/>
                  <a:pt x="7144" y="130969"/>
                  <a:pt x="7144" y="130969"/>
                </a:cubicBezTo>
                <a:cubicBezTo>
                  <a:pt x="2515" y="117085"/>
                  <a:pt x="4135" y="123693"/>
                  <a:pt x="2381" y="100013"/>
                </a:cubicBezTo>
                <a:cubicBezTo>
                  <a:pt x="1383" y="86533"/>
                  <a:pt x="794" y="73026"/>
                  <a:pt x="0" y="59532"/>
                </a:cubicBezTo>
                <a:cubicBezTo>
                  <a:pt x="794" y="44451"/>
                  <a:pt x="-445" y="29123"/>
                  <a:pt x="2381" y="14288"/>
                </a:cubicBezTo>
                <a:cubicBezTo>
                  <a:pt x="2917" y="11476"/>
                  <a:pt x="10319" y="2381"/>
                  <a:pt x="11906" y="0"/>
                </a:cubicBezTo>
                <a:close/>
              </a:path>
            </a:pathLst>
          </a:cu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02527" y="2797171"/>
            <a:ext cx="3044283" cy="529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825188" y="2895515"/>
            <a:ext cx="3134812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E&amp;P</a:t>
            </a:r>
          </a:p>
          <a:p>
            <a:endParaRPr lang="en-US" sz="700" b="1" dirty="0" smtClean="0"/>
          </a:p>
          <a:p>
            <a:r>
              <a:rPr lang="en-US" sz="1700" dirty="0" err="1" smtClean="0"/>
              <a:t>Formaciones</a:t>
            </a:r>
            <a:r>
              <a:rPr lang="en-US" sz="1700" dirty="0" smtClean="0"/>
              <a:t> </a:t>
            </a:r>
            <a:r>
              <a:rPr lang="en-US" sz="1700" dirty="0" err="1" smtClean="0"/>
              <a:t>prospectivas</a:t>
            </a:r>
            <a:r>
              <a:rPr lang="en-US" sz="1700" dirty="0" smtClean="0"/>
              <a:t> </a:t>
            </a:r>
            <a:r>
              <a:rPr lang="en-US" sz="1700" dirty="0" err="1" smtClean="0"/>
              <a:t>convencionales</a:t>
            </a:r>
            <a:r>
              <a:rPr lang="en-US" sz="1700" dirty="0" smtClean="0"/>
              <a:t> y no </a:t>
            </a:r>
            <a:r>
              <a:rPr lang="en-US" sz="1700" dirty="0" err="1" smtClean="0"/>
              <a:t>convencionales</a:t>
            </a:r>
            <a:r>
              <a:rPr lang="en-US" sz="1700" dirty="0" smtClean="0"/>
              <a:t> con </a:t>
            </a:r>
            <a:r>
              <a:rPr lang="en-US" sz="1700" dirty="0" err="1" smtClean="0"/>
              <a:t>ventajas</a:t>
            </a:r>
            <a:r>
              <a:rPr lang="en-US" sz="1700" dirty="0" smtClean="0"/>
              <a:t> </a:t>
            </a:r>
            <a:r>
              <a:rPr lang="en-US" sz="1700" dirty="0" err="1" smtClean="0"/>
              <a:t>competitivas</a:t>
            </a:r>
            <a:endParaRPr lang="en-US" sz="1700" dirty="0"/>
          </a:p>
        </p:txBody>
      </p:sp>
      <p:sp>
        <p:nvSpPr>
          <p:cNvPr id="1973" name="Oval 1972"/>
          <p:cNvSpPr/>
          <p:nvPr/>
        </p:nvSpPr>
        <p:spPr>
          <a:xfrm>
            <a:off x="169961" y="4507645"/>
            <a:ext cx="432207" cy="432207"/>
          </a:xfrm>
          <a:prstGeom prst="ellipse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2.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74" name="Rectangle 1973"/>
          <p:cNvSpPr/>
          <p:nvPr/>
        </p:nvSpPr>
        <p:spPr>
          <a:xfrm>
            <a:off x="702527" y="4451889"/>
            <a:ext cx="3044283" cy="529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75" name="TextBox 1974"/>
          <p:cNvSpPr txBox="1"/>
          <p:nvPr/>
        </p:nvSpPr>
        <p:spPr>
          <a:xfrm>
            <a:off x="825188" y="4561384"/>
            <a:ext cx="313481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Midstream / Downstream</a:t>
            </a:r>
          </a:p>
          <a:p>
            <a:endParaRPr lang="en-US" sz="700" b="1" dirty="0" smtClean="0"/>
          </a:p>
          <a:p>
            <a:r>
              <a:rPr lang="en-US" sz="1700" dirty="0" err="1" smtClean="0"/>
              <a:t>Áreas</a:t>
            </a:r>
            <a:r>
              <a:rPr lang="en-US" sz="1700" dirty="0" smtClean="0"/>
              <a:t> </a:t>
            </a:r>
            <a:r>
              <a:rPr lang="en-US" sz="1700" dirty="0" err="1" smtClean="0"/>
              <a:t>selectivas</a:t>
            </a:r>
            <a:r>
              <a:rPr lang="en-US" sz="1700" dirty="0" smtClean="0"/>
              <a:t> </a:t>
            </a:r>
            <a:r>
              <a:rPr lang="en-US" sz="1700" dirty="0" err="1" smtClean="0"/>
              <a:t>que</a:t>
            </a:r>
            <a:r>
              <a:rPr lang="en-US" sz="1700" dirty="0" smtClean="0"/>
              <a:t> </a:t>
            </a:r>
            <a:r>
              <a:rPr lang="en-US" sz="1700" dirty="0" err="1" smtClean="0"/>
              <a:t>generan</a:t>
            </a:r>
            <a:r>
              <a:rPr lang="en-US" sz="1700" dirty="0" smtClean="0"/>
              <a:t> valor</a:t>
            </a:r>
            <a:endParaRPr lang="en-US" sz="1700" dirty="0"/>
          </a:p>
        </p:txBody>
      </p:sp>
      <p:sp>
        <p:nvSpPr>
          <p:cNvPr id="1976" name="Oval 1975"/>
          <p:cNvSpPr/>
          <p:nvPr/>
        </p:nvSpPr>
        <p:spPr>
          <a:xfrm>
            <a:off x="169960" y="5711210"/>
            <a:ext cx="432207" cy="432207"/>
          </a:xfrm>
          <a:prstGeom prst="ellipse">
            <a:avLst/>
          </a:prstGeom>
          <a:noFill/>
          <a:ln w="28575">
            <a:solidFill>
              <a:srgbClr val="7ABB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3.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977" name="Rectangle 1976"/>
          <p:cNvSpPr/>
          <p:nvPr/>
        </p:nvSpPr>
        <p:spPr>
          <a:xfrm>
            <a:off x="702526" y="5633152"/>
            <a:ext cx="3044283" cy="529200"/>
          </a:xfrm>
          <a:prstGeom prst="rect">
            <a:avLst/>
          </a:prstGeom>
          <a:solidFill>
            <a:srgbClr val="7AB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78" name="TextBox 1977"/>
          <p:cNvSpPr txBox="1"/>
          <p:nvPr/>
        </p:nvSpPr>
        <p:spPr>
          <a:xfrm>
            <a:off x="825187" y="5742647"/>
            <a:ext cx="3134812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chemeClr val="bg1"/>
                </a:solidFill>
              </a:rPr>
              <a:t>Electricidad</a:t>
            </a:r>
            <a:endParaRPr lang="en-US" b="1" dirty="0" smtClean="0">
              <a:solidFill>
                <a:schemeClr val="bg1"/>
              </a:solidFill>
            </a:endParaRPr>
          </a:p>
          <a:p>
            <a:endParaRPr lang="en-US" sz="700" b="1" dirty="0" smtClean="0"/>
          </a:p>
          <a:p>
            <a:r>
              <a:rPr lang="en-US" sz="1700" dirty="0" err="1" smtClean="0"/>
              <a:t>Cogeneración</a:t>
            </a:r>
            <a:r>
              <a:rPr lang="en-US" sz="1700" dirty="0" smtClean="0"/>
              <a:t> y </a:t>
            </a:r>
            <a:r>
              <a:rPr lang="en-US" sz="1700" dirty="0" err="1" smtClean="0"/>
              <a:t>renovables</a:t>
            </a:r>
            <a:r>
              <a:rPr lang="en-US" sz="1700" dirty="0" smtClean="0"/>
              <a:t> </a:t>
            </a:r>
            <a:r>
              <a:rPr lang="en-US" sz="1700" dirty="0" err="1" smtClean="0"/>
              <a:t>competitivos</a:t>
            </a:r>
            <a:endParaRPr lang="en-US" sz="1700" dirty="0"/>
          </a:p>
        </p:txBody>
      </p:sp>
      <p:sp>
        <p:nvSpPr>
          <p:cNvPr id="1979" name="TextBox 1978"/>
          <p:cNvSpPr txBox="1"/>
          <p:nvPr/>
        </p:nvSpPr>
        <p:spPr>
          <a:xfrm>
            <a:off x="4134799" y="53912"/>
            <a:ext cx="37584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/>
              <a:t>Recursos</a:t>
            </a:r>
            <a:r>
              <a:rPr lang="en-US" b="1" dirty="0" smtClean="0"/>
              <a:t> de </a:t>
            </a:r>
            <a:r>
              <a:rPr lang="en-US" b="1" dirty="0" err="1" smtClean="0"/>
              <a:t>hidrocarburos</a:t>
            </a:r>
            <a:r>
              <a:rPr lang="en-US" b="1" dirty="0" smtClean="0"/>
              <a:t> en México</a:t>
            </a:r>
            <a:endParaRPr lang="en-US" b="1" dirty="0"/>
          </a:p>
        </p:txBody>
      </p:sp>
      <p:sp>
        <p:nvSpPr>
          <p:cNvPr id="2013" name="Freeform 2012"/>
          <p:cNvSpPr/>
          <p:nvPr/>
        </p:nvSpPr>
        <p:spPr>
          <a:xfrm>
            <a:off x="6400075" y="1550877"/>
            <a:ext cx="475197" cy="711711"/>
          </a:xfrm>
          <a:custGeom>
            <a:avLst/>
            <a:gdLst>
              <a:gd name="connsiteX0" fmla="*/ 174569 w 475197"/>
              <a:gd name="connsiteY0" fmla="*/ 45244 h 664369"/>
              <a:gd name="connsiteX1" fmla="*/ 174569 w 475197"/>
              <a:gd name="connsiteY1" fmla="*/ 45244 h 664369"/>
              <a:gd name="connsiteX2" fmla="*/ 162662 w 475197"/>
              <a:gd name="connsiteY2" fmla="*/ 73819 h 664369"/>
              <a:gd name="connsiteX3" fmla="*/ 157900 w 475197"/>
              <a:gd name="connsiteY3" fmla="*/ 80962 h 664369"/>
              <a:gd name="connsiteX4" fmla="*/ 155519 w 475197"/>
              <a:gd name="connsiteY4" fmla="*/ 88106 h 664369"/>
              <a:gd name="connsiteX5" fmla="*/ 153137 w 475197"/>
              <a:gd name="connsiteY5" fmla="*/ 109537 h 664369"/>
              <a:gd name="connsiteX6" fmla="*/ 145994 w 475197"/>
              <a:gd name="connsiteY6" fmla="*/ 111919 h 664369"/>
              <a:gd name="connsiteX7" fmla="*/ 138850 w 475197"/>
              <a:gd name="connsiteY7" fmla="*/ 104775 h 664369"/>
              <a:gd name="connsiteX8" fmla="*/ 136469 w 475197"/>
              <a:gd name="connsiteY8" fmla="*/ 90487 h 664369"/>
              <a:gd name="connsiteX9" fmla="*/ 134087 w 475197"/>
              <a:gd name="connsiteY9" fmla="*/ 83344 h 664369"/>
              <a:gd name="connsiteX10" fmla="*/ 126944 w 475197"/>
              <a:gd name="connsiteY10" fmla="*/ 80962 h 664369"/>
              <a:gd name="connsiteX11" fmla="*/ 112656 w 475197"/>
              <a:gd name="connsiteY11" fmla="*/ 73819 h 664369"/>
              <a:gd name="connsiteX12" fmla="*/ 103131 w 475197"/>
              <a:gd name="connsiteY12" fmla="*/ 59531 h 664369"/>
              <a:gd name="connsiteX13" fmla="*/ 100750 w 475197"/>
              <a:gd name="connsiteY13" fmla="*/ 50006 h 664369"/>
              <a:gd name="connsiteX14" fmla="*/ 91225 w 475197"/>
              <a:gd name="connsiteY14" fmla="*/ 21431 h 664369"/>
              <a:gd name="connsiteX15" fmla="*/ 84081 w 475197"/>
              <a:gd name="connsiteY15" fmla="*/ 19050 h 664369"/>
              <a:gd name="connsiteX16" fmla="*/ 72175 w 475197"/>
              <a:gd name="connsiteY16" fmla="*/ 9525 h 664369"/>
              <a:gd name="connsiteX17" fmla="*/ 57887 w 475197"/>
              <a:gd name="connsiteY17" fmla="*/ 0 h 664369"/>
              <a:gd name="connsiteX18" fmla="*/ 45981 w 475197"/>
              <a:gd name="connsiteY18" fmla="*/ 2381 h 664369"/>
              <a:gd name="connsiteX19" fmla="*/ 15025 w 475197"/>
              <a:gd name="connsiteY19" fmla="*/ 7144 h 664369"/>
              <a:gd name="connsiteX20" fmla="*/ 7881 w 475197"/>
              <a:gd name="connsiteY20" fmla="*/ 90487 h 664369"/>
              <a:gd name="connsiteX21" fmla="*/ 17406 w 475197"/>
              <a:gd name="connsiteY21" fmla="*/ 97631 h 664369"/>
              <a:gd name="connsiteX22" fmla="*/ 22169 w 475197"/>
              <a:gd name="connsiteY22" fmla="*/ 104775 h 664369"/>
              <a:gd name="connsiteX23" fmla="*/ 24550 w 475197"/>
              <a:gd name="connsiteY23" fmla="*/ 171450 h 664369"/>
              <a:gd name="connsiteX24" fmla="*/ 26931 w 475197"/>
              <a:gd name="connsiteY24" fmla="*/ 216694 h 664369"/>
              <a:gd name="connsiteX25" fmla="*/ 29312 w 475197"/>
              <a:gd name="connsiteY25" fmla="*/ 226219 h 664369"/>
              <a:gd name="connsiteX26" fmla="*/ 34075 w 475197"/>
              <a:gd name="connsiteY26" fmla="*/ 233362 h 664369"/>
              <a:gd name="connsiteX27" fmla="*/ 41219 w 475197"/>
              <a:gd name="connsiteY27" fmla="*/ 247650 h 664369"/>
              <a:gd name="connsiteX28" fmla="*/ 50744 w 475197"/>
              <a:gd name="connsiteY28" fmla="*/ 250031 h 664369"/>
              <a:gd name="connsiteX29" fmla="*/ 53125 w 475197"/>
              <a:gd name="connsiteY29" fmla="*/ 259556 h 664369"/>
              <a:gd name="connsiteX30" fmla="*/ 60269 w 475197"/>
              <a:gd name="connsiteY30" fmla="*/ 264319 h 664369"/>
              <a:gd name="connsiteX31" fmla="*/ 67412 w 475197"/>
              <a:gd name="connsiteY31" fmla="*/ 271462 h 664369"/>
              <a:gd name="connsiteX32" fmla="*/ 84081 w 475197"/>
              <a:gd name="connsiteY32" fmla="*/ 280987 h 664369"/>
              <a:gd name="connsiteX33" fmla="*/ 88844 w 475197"/>
              <a:gd name="connsiteY33" fmla="*/ 288131 h 664369"/>
              <a:gd name="connsiteX34" fmla="*/ 105512 w 475197"/>
              <a:gd name="connsiteY34" fmla="*/ 283369 h 664369"/>
              <a:gd name="connsiteX35" fmla="*/ 131706 w 475197"/>
              <a:gd name="connsiteY35" fmla="*/ 278606 h 664369"/>
              <a:gd name="connsiteX36" fmla="*/ 143612 w 475197"/>
              <a:gd name="connsiteY36" fmla="*/ 266700 h 664369"/>
              <a:gd name="connsiteX37" fmla="*/ 150756 w 475197"/>
              <a:gd name="connsiteY37" fmla="*/ 261937 h 664369"/>
              <a:gd name="connsiteX38" fmla="*/ 165044 w 475197"/>
              <a:gd name="connsiteY38" fmla="*/ 252412 h 664369"/>
              <a:gd name="connsiteX39" fmla="*/ 167425 w 475197"/>
              <a:gd name="connsiteY39" fmla="*/ 245269 h 664369"/>
              <a:gd name="connsiteX40" fmla="*/ 172187 w 475197"/>
              <a:gd name="connsiteY40" fmla="*/ 173831 h 664369"/>
              <a:gd name="connsiteX41" fmla="*/ 174569 w 475197"/>
              <a:gd name="connsiteY41" fmla="*/ 145256 h 664369"/>
              <a:gd name="connsiteX42" fmla="*/ 181712 w 475197"/>
              <a:gd name="connsiteY42" fmla="*/ 152400 h 664369"/>
              <a:gd name="connsiteX43" fmla="*/ 186475 w 475197"/>
              <a:gd name="connsiteY43" fmla="*/ 159544 h 664369"/>
              <a:gd name="connsiteX44" fmla="*/ 200762 w 475197"/>
              <a:gd name="connsiteY44" fmla="*/ 173831 h 664369"/>
              <a:gd name="connsiteX45" fmla="*/ 205525 w 475197"/>
              <a:gd name="connsiteY45" fmla="*/ 183356 h 664369"/>
              <a:gd name="connsiteX46" fmla="*/ 207906 w 475197"/>
              <a:gd name="connsiteY46" fmla="*/ 190500 h 664369"/>
              <a:gd name="connsiteX47" fmla="*/ 210287 w 475197"/>
              <a:gd name="connsiteY47" fmla="*/ 200025 h 664369"/>
              <a:gd name="connsiteX48" fmla="*/ 215050 w 475197"/>
              <a:gd name="connsiteY48" fmla="*/ 207169 h 664369"/>
              <a:gd name="connsiteX49" fmla="*/ 217431 w 475197"/>
              <a:gd name="connsiteY49" fmla="*/ 295275 h 664369"/>
              <a:gd name="connsiteX50" fmla="*/ 222194 w 475197"/>
              <a:gd name="connsiteY50" fmla="*/ 335756 h 664369"/>
              <a:gd name="connsiteX51" fmla="*/ 226956 w 475197"/>
              <a:gd name="connsiteY51" fmla="*/ 342900 h 664369"/>
              <a:gd name="connsiteX52" fmla="*/ 234100 w 475197"/>
              <a:gd name="connsiteY52" fmla="*/ 347662 h 664369"/>
              <a:gd name="connsiteX53" fmla="*/ 243625 w 475197"/>
              <a:gd name="connsiteY53" fmla="*/ 369094 h 664369"/>
              <a:gd name="connsiteX54" fmla="*/ 253150 w 475197"/>
              <a:gd name="connsiteY54" fmla="*/ 385762 h 664369"/>
              <a:gd name="connsiteX55" fmla="*/ 255531 w 475197"/>
              <a:gd name="connsiteY55" fmla="*/ 392906 h 664369"/>
              <a:gd name="connsiteX56" fmla="*/ 265056 w 475197"/>
              <a:gd name="connsiteY56" fmla="*/ 397669 h 664369"/>
              <a:gd name="connsiteX57" fmla="*/ 272200 w 475197"/>
              <a:gd name="connsiteY57" fmla="*/ 402431 h 664369"/>
              <a:gd name="connsiteX58" fmla="*/ 276962 w 475197"/>
              <a:gd name="connsiteY58" fmla="*/ 409575 h 664369"/>
              <a:gd name="connsiteX59" fmla="*/ 291250 w 475197"/>
              <a:gd name="connsiteY59" fmla="*/ 419100 h 664369"/>
              <a:gd name="connsiteX60" fmla="*/ 298394 w 475197"/>
              <a:gd name="connsiteY60" fmla="*/ 423862 h 664369"/>
              <a:gd name="connsiteX61" fmla="*/ 317444 w 475197"/>
              <a:gd name="connsiteY61" fmla="*/ 428625 h 664369"/>
              <a:gd name="connsiteX62" fmla="*/ 322206 w 475197"/>
              <a:gd name="connsiteY62" fmla="*/ 435769 h 664369"/>
              <a:gd name="connsiteX63" fmla="*/ 343637 w 475197"/>
              <a:gd name="connsiteY63" fmla="*/ 438150 h 664369"/>
              <a:gd name="connsiteX64" fmla="*/ 365069 w 475197"/>
              <a:gd name="connsiteY64" fmla="*/ 442912 h 664369"/>
              <a:gd name="connsiteX65" fmla="*/ 372212 w 475197"/>
              <a:gd name="connsiteY65" fmla="*/ 447675 h 664369"/>
              <a:gd name="connsiteX66" fmla="*/ 381737 w 475197"/>
              <a:gd name="connsiteY66" fmla="*/ 461962 h 664369"/>
              <a:gd name="connsiteX67" fmla="*/ 384119 w 475197"/>
              <a:gd name="connsiteY67" fmla="*/ 488156 h 664369"/>
              <a:gd name="connsiteX68" fmla="*/ 379356 w 475197"/>
              <a:gd name="connsiteY68" fmla="*/ 564356 h 664369"/>
              <a:gd name="connsiteX69" fmla="*/ 398406 w 475197"/>
              <a:gd name="connsiteY69" fmla="*/ 559594 h 664369"/>
              <a:gd name="connsiteX70" fmla="*/ 403169 w 475197"/>
              <a:gd name="connsiteY70" fmla="*/ 571500 h 664369"/>
              <a:gd name="connsiteX71" fmla="*/ 407931 w 475197"/>
              <a:gd name="connsiteY71" fmla="*/ 578644 h 664369"/>
              <a:gd name="connsiteX72" fmla="*/ 410312 w 475197"/>
              <a:gd name="connsiteY72" fmla="*/ 588169 h 664369"/>
              <a:gd name="connsiteX73" fmla="*/ 417456 w 475197"/>
              <a:gd name="connsiteY73" fmla="*/ 590550 h 664369"/>
              <a:gd name="connsiteX74" fmla="*/ 424600 w 475197"/>
              <a:gd name="connsiteY74" fmla="*/ 597694 h 664369"/>
              <a:gd name="connsiteX75" fmla="*/ 434125 w 475197"/>
              <a:gd name="connsiteY75" fmla="*/ 611981 h 664369"/>
              <a:gd name="connsiteX76" fmla="*/ 448412 w 475197"/>
              <a:gd name="connsiteY76" fmla="*/ 628650 h 664369"/>
              <a:gd name="connsiteX77" fmla="*/ 453175 w 475197"/>
              <a:gd name="connsiteY77" fmla="*/ 645319 h 664369"/>
              <a:gd name="connsiteX78" fmla="*/ 455556 w 475197"/>
              <a:gd name="connsiteY78" fmla="*/ 654844 h 664369"/>
              <a:gd name="connsiteX79" fmla="*/ 465081 w 475197"/>
              <a:gd name="connsiteY79" fmla="*/ 657225 h 664369"/>
              <a:gd name="connsiteX80" fmla="*/ 469844 w 475197"/>
              <a:gd name="connsiteY80" fmla="*/ 664369 h 664369"/>
              <a:gd name="connsiteX81" fmla="*/ 472225 w 475197"/>
              <a:gd name="connsiteY81" fmla="*/ 657225 h 664369"/>
              <a:gd name="connsiteX82" fmla="*/ 462700 w 475197"/>
              <a:gd name="connsiteY82" fmla="*/ 602456 h 664369"/>
              <a:gd name="connsiteX83" fmla="*/ 457937 w 475197"/>
              <a:gd name="connsiteY83" fmla="*/ 595312 h 664369"/>
              <a:gd name="connsiteX84" fmla="*/ 450794 w 475197"/>
              <a:gd name="connsiteY84" fmla="*/ 578644 h 664369"/>
              <a:gd name="connsiteX85" fmla="*/ 443650 w 475197"/>
              <a:gd name="connsiteY85" fmla="*/ 573881 h 664369"/>
              <a:gd name="connsiteX86" fmla="*/ 434125 w 475197"/>
              <a:gd name="connsiteY86" fmla="*/ 559594 h 664369"/>
              <a:gd name="connsiteX87" fmla="*/ 429362 w 475197"/>
              <a:gd name="connsiteY87" fmla="*/ 550069 h 664369"/>
              <a:gd name="connsiteX88" fmla="*/ 422219 w 475197"/>
              <a:gd name="connsiteY88" fmla="*/ 542925 h 664369"/>
              <a:gd name="connsiteX89" fmla="*/ 410312 w 475197"/>
              <a:gd name="connsiteY89" fmla="*/ 526256 h 664369"/>
              <a:gd name="connsiteX90" fmla="*/ 405550 w 475197"/>
              <a:gd name="connsiteY90" fmla="*/ 509587 h 664369"/>
              <a:gd name="connsiteX91" fmla="*/ 403169 w 475197"/>
              <a:gd name="connsiteY91" fmla="*/ 500062 h 664369"/>
              <a:gd name="connsiteX92" fmla="*/ 400787 w 475197"/>
              <a:gd name="connsiteY92" fmla="*/ 431006 h 664369"/>
              <a:gd name="connsiteX93" fmla="*/ 362687 w 475197"/>
              <a:gd name="connsiteY93" fmla="*/ 397669 h 664369"/>
              <a:gd name="connsiteX94" fmla="*/ 343637 w 475197"/>
              <a:gd name="connsiteY94" fmla="*/ 395287 h 664369"/>
              <a:gd name="connsiteX95" fmla="*/ 336494 w 475197"/>
              <a:gd name="connsiteY95" fmla="*/ 390525 h 664369"/>
              <a:gd name="connsiteX96" fmla="*/ 326969 w 475197"/>
              <a:gd name="connsiteY96" fmla="*/ 381000 h 664369"/>
              <a:gd name="connsiteX97" fmla="*/ 312681 w 475197"/>
              <a:gd name="connsiteY97" fmla="*/ 371475 h 664369"/>
              <a:gd name="connsiteX98" fmla="*/ 298394 w 475197"/>
              <a:gd name="connsiteY98" fmla="*/ 361950 h 664369"/>
              <a:gd name="connsiteX99" fmla="*/ 284106 w 475197"/>
              <a:gd name="connsiteY99" fmla="*/ 352425 h 664369"/>
              <a:gd name="connsiteX100" fmla="*/ 281725 w 475197"/>
              <a:gd name="connsiteY100" fmla="*/ 345281 h 664369"/>
              <a:gd name="connsiteX101" fmla="*/ 274581 w 475197"/>
              <a:gd name="connsiteY101" fmla="*/ 328612 h 664369"/>
              <a:gd name="connsiteX102" fmla="*/ 267437 w 475197"/>
              <a:gd name="connsiteY102" fmla="*/ 323850 h 664369"/>
              <a:gd name="connsiteX103" fmla="*/ 260294 w 475197"/>
              <a:gd name="connsiteY103" fmla="*/ 242887 h 664369"/>
              <a:gd name="connsiteX104" fmla="*/ 257912 w 475197"/>
              <a:gd name="connsiteY104" fmla="*/ 235744 h 664369"/>
              <a:gd name="connsiteX105" fmla="*/ 250769 w 475197"/>
              <a:gd name="connsiteY105" fmla="*/ 207169 h 664369"/>
              <a:gd name="connsiteX106" fmla="*/ 246006 w 475197"/>
              <a:gd name="connsiteY106" fmla="*/ 197644 h 664369"/>
              <a:gd name="connsiteX107" fmla="*/ 243625 w 475197"/>
              <a:gd name="connsiteY107" fmla="*/ 190500 h 664369"/>
              <a:gd name="connsiteX108" fmla="*/ 241244 w 475197"/>
              <a:gd name="connsiteY108" fmla="*/ 180975 h 664369"/>
              <a:gd name="connsiteX109" fmla="*/ 236481 w 475197"/>
              <a:gd name="connsiteY109" fmla="*/ 173831 h 664369"/>
              <a:gd name="connsiteX110" fmla="*/ 226956 w 475197"/>
              <a:gd name="connsiteY110" fmla="*/ 157162 h 664369"/>
              <a:gd name="connsiteX111" fmla="*/ 219812 w 475197"/>
              <a:gd name="connsiteY111" fmla="*/ 152400 h 664369"/>
              <a:gd name="connsiteX112" fmla="*/ 212669 w 475197"/>
              <a:gd name="connsiteY112" fmla="*/ 138112 h 664369"/>
              <a:gd name="connsiteX113" fmla="*/ 210287 w 475197"/>
              <a:gd name="connsiteY113" fmla="*/ 130969 h 664369"/>
              <a:gd name="connsiteX114" fmla="*/ 203144 w 475197"/>
              <a:gd name="connsiteY114" fmla="*/ 128587 h 664369"/>
              <a:gd name="connsiteX115" fmla="*/ 205525 w 475197"/>
              <a:gd name="connsiteY115" fmla="*/ 76200 h 664369"/>
              <a:gd name="connsiteX116" fmla="*/ 210287 w 475197"/>
              <a:gd name="connsiteY116" fmla="*/ 69056 h 664369"/>
              <a:gd name="connsiteX117" fmla="*/ 207906 w 475197"/>
              <a:gd name="connsiteY117" fmla="*/ 57150 h 664369"/>
              <a:gd name="connsiteX118" fmla="*/ 193619 w 475197"/>
              <a:gd name="connsiteY118" fmla="*/ 52387 h 664369"/>
              <a:gd name="connsiteX119" fmla="*/ 186475 w 475197"/>
              <a:gd name="connsiteY119" fmla="*/ 47625 h 664369"/>
              <a:gd name="connsiteX120" fmla="*/ 169806 w 475197"/>
              <a:gd name="connsiteY120" fmla="*/ 54769 h 664369"/>
              <a:gd name="connsiteX121" fmla="*/ 172187 w 475197"/>
              <a:gd name="connsiteY121" fmla="*/ 61912 h 664369"/>
              <a:gd name="connsiteX122" fmla="*/ 174569 w 475197"/>
              <a:gd name="connsiteY122" fmla="*/ 45244 h 664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475197" h="664369">
                <a:moveTo>
                  <a:pt x="174569" y="45244"/>
                </a:moveTo>
                <a:lnTo>
                  <a:pt x="174569" y="45244"/>
                </a:lnTo>
                <a:cubicBezTo>
                  <a:pt x="170239" y="56791"/>
                  <a:pt x="168333" y="63895"/>
                  <a:pt x="162662" y="73819"/>
                </a:cubicBezTo>
                <a:cubicBezTo>
                  <a:pt x="161242" y="76304"/>
                  <a:pt x="159487" y="78581"/>
                  <a:pt x="157900" y="80962"/>
                </a:cubicBezTo>
                <a:cubicBezTo>
                  <a:pt x="157106" y="83343"/>
                  <a:pt x="155932" y="85630"/>
                  <a:pt x="155519" y="88106"/>
                </a:cubicBezTo>
                <a:cubicBezTo>
                  <a:pt x="154337" y="95196"/>
                  <a:pt x="155806" y="102863"/>
                  <a:pt x="153137" y="109537"/>
                </a:cubicBezTo>
                <a:cubicBezTo>
                  <a:pt x="152205" y="111867"/>
                  <a:pt x="148375" y="111125"/>
                  <a:pt x="145994" y="111919"/>
                </a:cubicBezTo>
                <a:cubicBezTo>
                  <a:pt x="143613" y="109538"/>
                  <a:pt x="140218" y="107852"/>
                  <a:pt x="138850" y="104775"/>
                </a:cubicBezTo>
                <a:cubicBezTo>
                  <a:pt x="136889" y="100363"/>
                  <a:pt x="137517" y="95200"/>
                  <a:pt x="136469" y="90487"/>
                </a:cubicBezTo>
                <a:cubicBezTo>
                  <a:pt x="135924" y="88037"/>
                  <a:pt x="135862" y="85119"/>
                  <a:pt x="134087" y="83344"/>
                </a:cubicBezTo>
                <a:cubicBezTo>
                  <a:pt x="132312" y="81569"/>
                  <a:pt x="129189" y="82085"/>
                  <a:pt x="126944" y="80962"/>
                </a:cubicBezTo>
                <a:cubicBezTo>
                  <a:pt x="108490" y="71735"/>
                  <a:pt x="130603" y="79800"/>
                  <a:pt x="112656" y="73819"/>
                </a:cubicBezTo>
                <a:lnTo>
                  <a:pt x="103131" y="59531"/>
                </a:lnTo>
                <a:cubicBezTo>
                  <a:pt x="101316" y="56808"/>
                  <a:pt x="101486" y="53195"/>
                  <a:pt x="100750" y="50006"/>
                </a:cubicBezTo>
                <a:cubicBezTo>
                  <a:pt x="99583" y="44948"/>
                  <a:pt x="98397" y="27169"/>
                  <a:pt x="91225" y="21431"/>
                </a:cubicBezTo>
                <a:cubicBezTo>
                  <a:pt x="89265" y="19863"/>
                  <a:pt x="86462" y="19844"/>
                  <a:pt x="84081" y="19050"/>
                </a:cubicBezTo>
                <a:cubicBezTo>
                  <a:pt x="75282" y="5850"/>
                  <a:pt x="84353" y="16290"/>
                  <a:pt x="72175" y="9525"/>
                </a:cubicBezTo>
                <a:cubicBezTo>
                  <a:pt x="67171" y="6745"/>
                  <a:pt x="57887" y="0"/>
                  <a:pt x="57887" y="0"/>
                </a:cubicBezTo>
                <a:cubicBezTo>
                  <a:pt x="53918" y="794"/>
                  <a:pt x="49988" y="1809"/>
                  <a:pt x="45981" y="2381"/>
                </a:cubicBezTo>
                <a:cubicBezTo>
                  <a:pt x="13990" y="6951"/>
                  <a:pt x="34850" y="2186"/>
                  <a:pt x="15025" y="7144"/>
                </a:cubicBezTo>
                <a:cubicBezTo>
                  <a:pt x="-5443" y="37845"/>
                  <a:pt x="-2074" y="26775"/>
                  <a:pt x="7881" y="90487"/>
                </a:cubicBezTo>
                <a:cubicBezTo>
                  <a:pt x="8494" y="94408"/>
                  <a:pt x="14600" y="94825"/>
                  <a:pt x="17406" y="97631"/>
                </a:cubicBezTo>
                <a:cubicBezTo>
                  <a:pt x="19430" y="99655"/>
                  <a:pt x="20581" y="102394"/>
                  <a:pt x="22169" y="104775"/>
                </a:cubicBezTo>
                <a:cubicBezTo>
                  <a:pt x="22963" y="127000"/>
                  <a:pt x="23605" y="149231"/>
                  <a:pt x="24550" y="171450"/>
                </a:cubicBezTo>
                <a:cubicBezTo>
                  <a:pt x="25192" y="186539"/>
                  <a:pt x="25623" y="201649"/>
                  <a:pt x="26931" y="216694"/>
                </a:cubicBezTo>
                <a:cubicBezTo>
                  <a:pt x="27214" y="219954"/>
                  <a:pt x="28023" y="223211"/>
                  <a:pt x="29312" y="226219"/>
                </a:cubicBezTo>
                <a:cubicBezTo>
                  <a:pt x="30439" y="228849"/>
                  <a:pt x="32487" y="230981"/>
                  <a:pt x="34075" y="233362"/>
                </a:cubicBezTo>
                <a:cubicBezTo>
                  <a:pt x="35433" y="237438"/>
                  <a:pt x="37261" y="245012"/>
                  <a:pt x="41219" y="247650"/>
                </a:cubicBezTo>
                <a:cubicBezTo>
                  <a:pt x="43942" y="249465"/>
                  <a:pt x="47569" y="249237"/>
                  <a:pt x="50744" y="250031"/>
                </a:cubicBezTo>
                <a:cubicBezTo>
                  <a:pt x="51538" y="253206"/>
                  <a:pt x="51310" y="256833"/>
                  <a:pt x="53125" y="259556"/>
                </a:cubicBezTo>
                <a:cubicBezTo>
                  <a:pt x="54713" y="261937"/>
                  <a:pt x="58070" y="262487"/>
                  <a:pt x="60269" y="264319"/>
                </a:cubicBezTo>
                <a:cubicBezTo>
                  <a:pt x="62856" y="266475"/>
                  <a:pt x="64825" y="269306"/>
                  <a:pt x="67412" y="271462"/>
                </a:cubicBezTo>
                <a:cubicBezTo>
                  <a:pt x="72463" y="275671"/>
                  <a:pt x="78255" y="278074"/>
                  <a:pt x="84081" y="280987"/>
                </a:cubicBezTo>
                <a:cubicBezTo>
                  <a:pt x="85669" y="283368"/>
                  <a:pt x="85999" y="287815"/>
                  <a:pt x="88844" y="288131"/>
                </a:cubicBezTo>
                <a:cubicBezTo>
                  <a:pt x="94587" y="288769"/>
                  <a:pt x="99977" y="285029"/>
                  <a:pt x="105512" y="283369"/>
                </a:cubicBezTo>
                <a:cubicBezTo>
                  <a:pt x="121249" y="278648"/>
                  <a:pt x="103735" y="282102"/>
                  <a:pt x="131706" y="278606"/>
                </a:cubicBezTo>
                <a:cubicBezTo>
                  <a:pt x="150753" y="265910"/>
                  <a:pt x="127741" y="282572"/>
                  <a:pt x="143612" y="266700"/>
                </a:cubicBezTo>
                <a:cubicBezTo>
                  <a:pt x="145636" y="264676"/>
                  <a:pt x="148557" y="263769"/>
                  <a:pt x="150756" y="261937"/>
                </a:cubicBezTo>
                <a:cubicBezTo>
                  <a:pt x="162647" y="252028"/>
                  <a:pt x="152490" y="256598"/>
                  <a:pt x="165044" y="252412"/>
                </a:cubicBezTo>
                <a:cubicBezTo>
                  <a:pt x="165838" y="250031"/>
                  <a:pt x="166881" y="247719"/>
                  <a:pt x="167425" y="245269"/>
                </a:cubicBezTo>
                <a:cubicBezTo>
                  <a:pt x="172618" y="221899"/>
                  <a:pt x="170877" y="197402"/>
                  <a:pt x="172187" y="173831"/>
                </a:cubicBezTo>
                <a:cubicBezTo>
                  <a:pt x="172717" y="164288"/>
                  <a:pt x="173775" y="154781"/>
                  <a:pt x="174569" y="145256"/>
                </a:cubicBezTo>
                <a:cubicBezTo>
                  <a:pt x="176950" y="147637"/>
                  <a:pt x="179556" y="149813"/>
                  <a:pt x="181712" y="152400"/>
                </a:cubicBezTo>
                <a:cubicBezTo>
                  <a:pt x="183544" y="154599"/>
                  <a:pt x="184574" y="157405"/>
                  <a:pt x="186475" y="159544"/>
                </a:cubicBezTo>
                <a:cubicBezTo>
                  <a:pt x="190949" y="164578"/>
                  <a:pt x="196000" y="169069"/>
                  <a:pt x="200762" y="173831"/>
                </a:cubicBezTo>
                <a:cubicBezTo>
                  <a:pt x="203272" y="176341"/>
                  <a:pt x="204127" y="180093"/>
                  <a:pt x="205525" y="183356"/>
                </a:cubicBezTo>
                <a:cubicBezTo>
                  <a:pt x="206514" y="185663"/>
                  <a:pt x="207216" y="188086"/>
                  <a:pt x="207906" y="190500"/>
                </a:cubicBezTo>
                <a:cubicBezTo>
                  <a:pt x="208805" y="193647"/>
                  <a:pt x="208998" y="197017"/>
                  <a:pt x="210287" y="200025"/>
                </a:cubicBezTo>
                <a:cubicBezTo>
                  <a:pt x="211414" y="202656"/>
                  <a:pt x="213462" y="204788"/>
                  <a:pt x="215050" y="207169"/>
                </a:cubicBezTo>
                <a:cubicBezTo>
                  <a:pt x="215844" y="236538"/>
                  <a:pt x="216257" y="265919"/>
                  <a:pt x="217431" y="295275"/>
                </a:cubicBezTo>
                <a:cubicBezTo>
                  <a:pt x="217533" y="297823"/>
                  <a:pt x="218101" y="326207"/>
                  <a:pt x="222194" y="335756"/>
                </a:cubicBezTo>
                <a:cubicBezTo>
                  <a:pt x="223321" y="338386"/>
                  <a:pt x="224932" y="340876"/>
                  <a:pt x="226956" y="342900"/>
                </a:cubicBezTo>
                <a:cubicBezTo>
                  <a:pt x="228980" y="344924"/>
                  <a:pt x="231719" y="346075"/>
                  <a:pt x="234100" y="347662"/>
                </a:cubicBezTo>
                <a:cubicBezTo>
                  <a:pt x="248106" y="368674"/>
                  <a:pt x="226626" y="335092"/>
                  <a:pt x="243625" y="369094"/>
                </a:cubicBezTo>
                <a:cubicBezTo>
                  <a:pt x="249667" y="381179"/>
                  <a:pt x="246418" y="375666"/>
                  <a:pt x="253150" y="385762"/>
                </a:cubicBezTo>
                <a:cubicBezTo>
                  <a:pt x="253944" y="388143"/>
                  <a:pt x="253756" y="391131"/>
                  <a:pt x="255531" y="392906"/>
                </a:cubicBezTo>
                <a:cubicBezTo>
                  <a:pt x="258041" y="395416"/>
                  <a:pt x="261974" y="395908"/>
                  <a:pt x="265056" y="397669"/>
                </a:cubicBezTo>
                <a:cubicBezTo>
                  <a:pt x="267541" y="399089"/>
                  <a:pt x="269819" y="400844"/>
                  <a:pt x="272200" y="402431"/>
                </a:cubicBezTo>
                <a:cubicBezTo>
                  <a:pt x="273787" y="404812"/>
                  <a:pt x="274808" y="407690"/>
                  <a:pt x="276962" y="409575"/>
                </a:cubicBezTo>
                <a:cubicBezTo>
                  <a:pt x="281270" y="413344"/>
                  <a:pt x="286487" y="415925"/>
                  <a:pt x="291250" y="419100"/>
                </a:cubicBezTo>
                <a:lnTo>
                  <a:pt x="298394" y="423862"/>
                </a:lnTo>
                <a:cubicBezTo>
                  <a:pt x="301536" y="425957"/>
                  <a:pt x="315719" y="428280"/>
                  <a:pt x="317444" y="428625"/>
                </a:cubicBezTo>
                <a:cubicBezTo>
                  <a:pt x="319031" y="431006"/>
                  <a:pt x="319516" y="434791"/>
                  <a:pt x="322206" y="435769"/>
                </a:cubicBezTo>
                <a:cubicBezTo>
                  <a:pt x="328961" y="438225"/>
                  <a:pt x="336522" y="437134"/>
                  <a:pt x="343637" y="438150"/>
                </a:cubicBezTo>
                <a:cubicBezTo>
                  <a:pt x="350693" y="439158"/>
                  <a:pt x="358134" y="441179"/>
                  <a:pt x="365069" y="442912"/>
                </a:cubicBezTo>
                <a:cubicBezTo>
                  <a:pt x="367450" y="444500"/>
                  <a:pt x="370328" y="445521"/>
                  <a:pt x="372212" y="447675"/>
                </a:cubicBezTo>
                <a:cubicBezTo>
                  <a:pt x="375981" y="451983"/>
                  <a:pt x="381737" y="461962"/>
                  <a:pt x="381737" y="461962"/>
                </a:cubicBezTo>
                <a:cubicBezTo>
                  <a:pt x="382531" y="470693"/>
                  <a:pt x="384323" y="479391"/>
                  <a:pt x="384119" y="488156"/>
                </a:cubicBezTo>
                <a:cubicBezTo>
                  <a:pt x="383527" y="513599"/>
                  <a:pt x="374365" y="539401"/>
                  <a:pt x="379356" y="564356"/>
                </a:cubicBezTo>
                <a:cubicBezTo>
                  <a:pt x="380640" y="570774"/>
                  <a:pt x="398406" y="559594"/>
                  <a:pt x="398406" y="559594"/>
                </a:cubicBezTo>
                <a:cubicBezTo>
                  <a:pt x="403310" y="539974"/>
                  <a:pt x="398712" y="553672"/>
                  <a:pt x="403169" y="571500"/>
                </a:cubicBezTo>
                <a:cubicBezTo>
                  <a:pt x="403863" y="574276"/>
                  <a:pt x="406344" y="576263"/>
                  <a:pt x="407931" y="578644"/>
                </a:cubicBezTo>
                <a:cubicBezTo>
                  <a:pt x="408725" y="581819"/>
                  <a:pt x="408268" y="585613"/>
                  <a:pt x="410312" y="588169"/>
                </a:cubicBezTo>
                <a:cubicBezTo>
                  <a:pt x="411880" y="590129"/>
                  <a:pt x="415367" y="589158"/>
                  <a:pt x="417456" y="590550"/>
                </a:cubicBezTo>
                <a:cubicBezTo>
                  <a:pt x="420258" y="592418"/>
                  <a:pt x="422219" y="595313"/>
                  <a:pt x="424600" y="597694"/>
                </a:cubicBezTo>
                <a:cubicBezTo>
                  <a:pt x="428650" y="609844"/>
                  <a:pt x="424396" y="600630"/>
                  <a:pt x="434125" y="611981"/>
                </a:cubicBezTo>
                <a:cubicBezTo>
                  <a:pt x="452462" y="633373"/>
                  <a:pt x="430680" y="610916"/>
                  <a:pt x="448412" y="628650"/>
                </a:cubicBezTo>
                <a:cubicBezTo>
                  <a:pt x="455872" y="658479"/>
                  <a:pt x="446332" y="621365"/>
                  <a:pt x="453175" y="645319"/>
                </a:cubicBezTo>
                <a:cubicBezTo>
                  <a:pt x="454074" y="648466"/>
                  <a:pt x="453242" y="652530"/>
                  <a:pt x="455556" y="654844"/>
                </a:cubicBezTo>
                <a:cubicBezTo>
                  <a:pt x="457870" y="657158"/>
                  <a:pt x="461906" y="656431"/>
                  <a:pt x="465081" y="657225"/>
                </a:cubicBezTo>
                <a:cubicBezTo>
                  <a:pt x="466669" y="659606"/>
                  <a:pt x="466982" y="664369"/>
                  <a:pt x="469844" y="664369"/>
                </a:cubicBezTo>
                <a:cubicBezTo>
                  <a:pt x="472354" y="664369"/>
                  <a:pt x="472225" y="659735"/>
                  <a:pt x="472225" y="657225"/>
                </a:cubicBezTo>
                <a:cubicBezTo>
                  <a:pt x="472225" y="606038"/>
                  <a:pt x="483297" y="616188"/>
                  <a:pt x="462700" y="602456"/>
                </a:cubicBezTo>
                <a:cubicBezTo>
                  <a:pt x="461112" y="600075"/>
                  <a:pt x="459064" y="597943"/>
                  <a:pt x="457937" y="595312"/>
                </a:cubicBezTo>
                <a:cubicBezTo>
                  <a:pt x="453838" y="585748"/>
                  <a:pt x="458267" y="586117"/>
                  <a:pt x="450794" y="578644"/>
                </a:cubicBezTo>
                <a:cubicBezTo>
                  <a:pt x="448770" y="576620"/>
                  <a:pt x="446031" y="575469"/>
                  <a:pt x="443650" y="573881"/>
                </a:cubicBezTo>
                <a:cubicBezTo>
                  <a:pt x="438543" y="558557"/>
                  <a:pt x="445273" y="575199"/>
                  <a:pt x="434125" y="559594"/>
                </a:cubicBezTo>
                <a:cubicBezTo>
                  <a:pt x="432062" y="556705"/>
                  <a:pt x="431425" y="552958"/>
                  <a:pt x="429362" y="550069"/>
                </a:cubicBezTo>
                <a:cubicBezTo>
                  <a:pt x="427405" y="547329"/>
                  <a:pt x="424176" y="545665"/>
                  <a:pt x="422219" y="542925"/>
                </a:cubicBezTo>
                <a:cubicBezTo>
                  <a:pt x="406551" y="520989"/>
                  <a:pt x="428882" y="544826"/>
                  <a:pt x="410312" y="526256"/>
                </a:cubicBezTo>
                <a:cubicBezTo>
                  <a:pt x="402869" y="496480"/>
                  <a:pt x="412382" y="533500"/>
                  <a:pt x="405550" y="509587"/>
                </a:cubicBezTo>
                <a:cubicBezTo>
                  <a:pt x="404651" y="506440"/>
                  <a:pt x="403963" y="503237"/>
                  <a:pt x="403169" y="500062"/>
                </a:cubicBezTo>
                <a:cubicBezTo>
                  <a:pt x="402375" y="477043"/>
                  <a:pt x="407597" y="453008"/>
                  <a:pt x="400787" y="431006"/>
                </a:cubicBezTo>
                <a:cubicBezTo>
                  <a:pt x="394274" y="409966"/>
                  <a:pt x="380177" y="400584"/>
                  <a:pt x="362687" y="397669"/>
                </a:cubicBezTo>
                <a:cubicBezTo>
                  <a:pt x="356375" y="396617"/>
                  <a:pt x="349987" y="396081"/>
                  <a:pt x="343637" y="395287"/>
                </a:cubicBezTo>
                <a:cubicBezTo>
                  <a:pt x="341256" y="393700"/>
                  <a:pt x="338282" y="392760"/>
                  <a:pt x="336494" y="390525"/>
                </a:cubicBezTo>
                <a:cubicBezTo>
                  <a:pt x="327258" y="378980"/>
                  <a:pt x="342553" y="386195"/>
                  <a:pt x="326969" y="381000"/>
                </a:cubicBezTo>
                <a:cubicBezTo>
                  <a:pt x="322206" y="377825"/>
                  <a:pt x="316728" y="375522"/>
                  <a:pt x="312681" y="371475"/>
                </a:cubicBezTo>
                <a:cubicBezTo>
                  <a:pt x="303762" y="362556"/>
                  <a:pt x="308732" y="365396"/>
                  <a:pt x="298394" y="361950"/>
                </a:cubicBezTo>
                <a:cubicBezTo>
                  <a:pt x="293631" y="358775"/>
                  <a:pt x="285916" y="357855"/>
                  <a:pt x="284106" y="352425"/>
                </a:cubicBezTo>
                <a:cubicBezTo>
                  <a:pt x="283312" y="350044"/>
                  <a:pt x="282415" y="347695"/>
                  <a:pt x="281725" y="345281"/>
                </a:cubicBezTo>
                <a:cubicBezTo>
                  <a:pt x="279539" y="337629"/>
                  <a:pt x="280382" y="334412"/>
                  <a:pt x="274581" y="328612"/>
                </a:cubicBezTo>
                <a:cubicBezTo>
                  <a:pt x="272557" y="326588"/>
                  <a:pt x="269818" y="325437"/>
                  <a:pt x="267437" y="323850"/>
                </a:cubicBezTo>
                <a:cubicBezTo>
                  <a:pt x="255065" y="286729"/>
                  <a:pt x="265416" y="322265"/>
                  <a:pt x="260294" y="242887"/>
                </a:cubicBezTo>
                <a:cubicBezTo>
                  <a:pt x="260132" y="240382"/>
                  <a:pt x="258521" y="238179"/>
                  <a:pt x="257912" y="235744"/>
                </a:cubicBezTo>
                <a:cubicBezTo>
                  <a:pt x="256489" y="230052"/>
                  <a:pt x="254132" y="215016"/>
                  <a:pt x="250769" y="207169"/>
                </a:cubicBezTo>
                <a:cubicBezTo>
                  <a:pt x="249371" y="203906"/>
                  <a:pt x="247404" y="200907"/>
                  <a:pt x="246006" y="197644"/>
                </a:cubicBezTo>
                <a:cubicBezTo>
                  <a:pt x="245017" y="195337"/>
                  <a:pt x="244315" y="192914"/>
                  <a:pt x="243625" y="190500"/>
                </a:cubicBezTo>
                <a:cubicBezTo>
                  <a:pt x="242726" y="187353"/>
                  <a:pt x="242533" y="183983"/>
                  <a:pt x="241244" y="180975"/>
                </a:cubicBezTo>
                <a:cubicBezTo>
                  <a:pt x="240117" y="178344"/>
                  <a:pt x="237901" y="176316"/>
                  <a:pt x="236481" y="173831"/>
                </a:cubicBezTo>
                <a:cubicBezTo>
                  <a:pt x="233989" y="169470"/>
                  <a:pt x="230826" y="161031"/>
                  <a:pt x="226956" y="157162"/>
                </a:cubicBezTo>
                <a:cubicBezTo>
                  <a:pt x="224932" y="155138"/>
                  <a:pt x="222193" y="153987"/>
                  <a:pt x="219812" y="152400"/>
                </a:cubicBezTo>
                <a:cubicBezTo>
                  <a:pt x="213831" y="134453"/>
                  <a:pt x="221896" y="156566"/>
                  <a:pt x="212669" y="138112"/>
                </a:cubicBezTo>
                <a:cubicBezTo>
                  <a:pt x="211546" y="135867"/>
                  <a:pt x="212062" y="132744"/>
                  <a:pt x="210287" y="130969"/>
                </a:cubicBezTo>
                <a:cubicBezTo>
                  <a:pt x="208512" y="129194"/>
                  <a:pt x="205525" y="129381"/>
                  <a:pt x="203144" y="128587"/>
                </a:cubicBezTo>
                <a:cubicBezTo>
                  <a:pt x="196356" y="108232"/>
                  <a:pt x="198134" y="116849"/>
                  <a:pt x="205525" y="76200"/>
                </a:cubicBezTo>
                <a:cubicBezTo>
                  <a:pt x="206037" y="73384"/>
                  <a:pt x="208700" y="71437"/>
                  <a:pt x="210287" y="69056"/>
                </a:cubicBezTo>
                <a:cubicBezTo>
                  <a:pt x="209493" y="65087"/>
                  <a:pt x="210768" y="60012"/>
                  <a:pt x="207906" y="57150"/>
                </a:cubicBezTo>
                <a:cubicBezTo>
                  <a:pt x="204356" y="53600"/>
                  <a:pt x="197796" y="55171"/>
                  <a:pt x="193619" y="52387"/>
                </a:cubicBezTo>
                <a:lnTo>
                  <a:pt x="186475" y="47625"/>
                </a:lnTo>
                <a:cubicBezTo>
                  <a:pt x="183245" y="48702"/>
                  <a:pt x="171278" y="52315"/>
                  <a:pt x="169806" y="54769"/>
                </a:cubicBezTo>
                <a:cubicBezTo>
                  <a:pt x="168515" y="56921"/>
                  <a:pt x="171774" y="59436"/>
                  <a:pt x="172187" y="61912"/>
                </a:cubicBezTo>
                <a:cubicBezTo>
                  <a:pt x="172578" y="64261"/>
                  <a:pt x="174172" y="48022"/>
                  <a:pt x="174569" y="45244"/>
                </a:cubicBezTo>
                <a:close/>
              </a:path>
            </a:pathLst>
          </a:cu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1961" name="Freeform 1960"/>
          <p:cNvSpPr/>
          <p:nvPr/>
        </p:nvSpPr>
        <p:spPr>
          <a:xfrm>
            <a:off x="7289155" y="2852936"/>
            <a:ext cx="307181" cy="352067"/>
          </a:xfrm>
          <a:custGeom>
            <a:avLst/>
            <a:gdLst>
              <a:gd name="connsiteX0" fmla="*/ 104775 w 386837"/>
              <a:gd name="connsiteY0" fmla="*/ 179114 h 371021"/>
              <a:gd name="connsiteX1" fmla="*/ 104775 w 386837"/>
              <a:gd name="connsiteY1" fmla="*/ 179114 h 371021"/>
              <a:gd name="connsiteX2" fmla="*/ 88106 w 386837"/>
              <a:gd name="connsiteY2" fmla="*/ 195783 h 371021"/>
              <a:gd name="connsiteX3" fmla="*/ 83344 w 386837"/>
              <a:gd name="connsiteY3" fmla="*/ 202926 h 371021"/>
              <a:gd name="connsiteX4" fmla="*/ 80963 w 386837"/>
              <a:gd name="connsiteY4" fmla="*/ 217214 h 371021"/>
              <a:gd name="connsiteX5" fmla="*/ 73819 w 386837"/>
              <a:gd name="connsiteY5" fmla="*/ 233883 h 371021"/>
              <a:gd name="connsiteX6" fmla="*/ 66675 w 386837"/>
              <a:gd name="connsiteY6" fmla="*/ 238645 h 371021"/>
              <a:gd name="connsiteX7" fmla="*/ 61913 w 386837"/>
              <a:gd name="connsiteY7" fmla="*/ 245789 h 371021"/>
              <a:gd name="connsiteX8" fmla="*/ 40481 w 386837"/>
              <a:gd name="connsiteY8" fmla="*/ 255314 h 371021"/>
              <a:gd name="connsiteX9" fmla="*/ 33338 w 386837"/>
              <a:gd name="connsiteY9" fmla="*/ 257695 h 371021"/>
              <a:gd name="connsiteX10" fmla="*/ 28575 w 386837"/>
              <a:gd name="connsiteY10" fmla="*/ 274364 h 371021"/>
              <a:gd name="connsiteX11" fmla="*/ 23813 w 386837"/>
              <a:gd name="connsiteY11" fmla="*/ 281508 h 371021"/>
              <a:gd name="connsiteX12" fmla="*/ 21431 w 386837"/>
              <a:gd name="connsiteY12" fmla="*/ 288651 h 371021"/>
              <a:gd name="connsiteX13" fmla="*/ 14288 w 386837"/>
              <a:gd name="connsiteY13" fmla="*/ 291033 h 371021"/>
              <a:gd name="connsiteX14" fmla="*/ 0 w 386837"/>
              <a:gd name="connsiteY14" fmla="*/ 298176 h 371021"/>
              <a:gd name="connsiteX15" fmla="*/ 4763 w 386837"/>
              <a:gd name="connsiteY15" fmla="*/ 312464 h 371021"/>
              <a:gd name="connsiteX16" fmla="*/ 7144 w 386837"/>
              <a:gd name="connsiteY16" fmla="*/ 319608 h 371021"/>
              <a:gd name="connsiteX17" fmla="*/ 21431 w 386837"/>
              <a:gd name="connsiteY17" fmla="*/ 324370 h 371021"/>
              <a:gd name="connsiteX18" fmla="*/ 21431 w 386837"/>
              <a:gd name="connsiteY18" fmla="*/ 341039 h 371021"/>
              <a:gd name="connsiteX19" fmla="*/ 14288 w 386837"/>
              <a:gd name="connsiteY19" fmla="*/ 343420 h 371021"/>
              <a:gd name="connsiteX20" fmla="*/ 80963 w 386837"/>
              <a:gd name="connsiteY20" fmla="*/ 352945 h 371021"/>
              <a:gd name="connsiteX21" fmla="*/ 102394 w 386837"/>
              <a:gd name="connsiteY21" fmla="*/ 362470 h 371021"/>
              <a:gd name="connsiteX22" fmla="*/ 107156 w 386837"/>
              <a:gd name="connsiteY22" fmla="*/ 369614 h 371021"/>
              <a:gd name="connsiteX23" fmla="*/ 150019 w 386837"/>
              <a:gd name="connsiteY23" fmla="*/ 357708 h 371021"/>
              <a:gd name="connsiteX24" fmla="*/ 152400 w 386837"/>
              <a:gd name="connsiteY24" fmla="*/ 348183 h 371021"/>
              <a:gd name="connsiteX25" fmla="*/ 147638 w 386837"/>
              <a:gd name="connsiteY25" fmla="*/ 341039 h 371021"/>
              <a:gd name="connsiteX26" fmla="*/ 142875 w 386837"/>
              <a:gd name="connsiteY26" fmla="*/ 324370 h 371021"/>
              <a:gd name="connsiteX27" fmla="*/ 135731 w 386837"/>
              <a:gd name="connsiteY27" fmla="*/ 319608 h 371021"/>
              <a:gd name="connsiteX28" fmla="*/ 126206 w 386837"/>
              <a:gd name="connsiteY28" fmla="*/ 305320 h 371021"/>
              <a:gd name="connsiteX29" fmla="*/ 121444 w 386837"/>
              <a:gd name="connsiteY29" fmla="*/ 291033 h 371021"/>
              <a:gd name="connsiteX30" fmla="*/ 128588 w 386837"/>
              <a:gd name="connsiteY30" fmla="*/ 264839 h 371021"/>
              <a:gd name="connsiteX31" fmla="*/ 142875 w 386837"/>
              <a:gd name="connsiteY31" fmla="*/ 260076 h 371021"/>
              <a:gd name="connsiteX32" fmla="*/ 157163 w 386837"/>
              <a:gd name="connsiteY32" fmla="*/ 252933 h 371021"/>
              <a:gd name="connsiteX33" fmla="*/ 161925 w 386837"/>
              <a:gd name="connsiteY33" fmla="*/ 238645 h 371021"/>
              <a:gd name="connsiteX34" fmla="*/ 171450 w 386837"/>
              <a:gd name="connsiteY34" fmla="*/ 224358 h 371021"/>
              <a:gd name="connsiteX35" fmla="*/ 183356 w 386837"/>
              <a:gd name="connsiteY35" fmla="*/ 195783 h 371021"/>
              <a:gd name="connsiteX36" fmla="*/ 190500 w 386837"/>
              <a:gd name="connsiteY36" fmla="*/ 191020 h 371021"/>
              <a:gd name="connsiteX37" fmla="*/ 190500 w 386837"/>
              <a:gd name="connsiteY37" fmla="*/ 217214 h 371021"/>
              <a:gd name="connsiteX38" fmla="*/ 188119 w 386837"/>
              <a:gd name="connsiteY38" fmla="*/ 224358 h 371021"/>
              <a:gd name="connsiteX39" fmla="*/ 180975 w 386837"/>
              <a:gd name="connsiteY39" fmla="*/ 229120 h 371021"/>
              <a:gd name="connsiteX40" fmla="*/ 176213 w 386837"/>
              <a:gd name="connsiteY40" fmla="*/ 236264 h 371021"/>
              <a:gd name="connsiteX41" fmla="*/ 169069 w 386837"/>
              <a:gd name="connsiteY41" fmla="*/ 241026 h 371021"/>
              <a:gd name="connsiteX42" fmla="*/ 164306 w 386837"/>
              <a:gd name="connsiteY42" fmla="*/ 250551 h 371021"/>
              <a:gd name="connsiteX43" fmla="*/ 166688 w 386837"/>
              <a:gd name="connsiteY43" fmla="*/ 257695 h 371021"/>
              <a:gd name="connsiteX44" fmla="*/ 176213 w 386837"/>
              <a:gd name="connsiteY44" fmla="*/ 274364 h 371021"/>
              <a:gd name="connsiteX45" fmla="*/ 216694 w 386837"/>
              <a:gd name="connsiteY45" fmla="*/ 286270 h 371021"/>
              <a:gd name="connsiteX46" fmla="*/ 221456 w 386837"/>
              <a:gd name="connsiteY46" fmla="*/ 271983 h 371021"/>
              <a:gd name="connsiteX47" fmla="*/ 230981 w 386837"/>
              <a:gd name="connsiteY47" fmla="*/ 269601 h 371021"/>
              <a:gd name="connsiteX48" fmla="*/ 233363 w 386837"/>
              <a:gd name="connsiteY48" fmla="*/ 262458 h 371021"/>
              <a:gd name="connsiteX49" fmla="*/ 261938 w 386837"/>
              <a:gd name="connsiteY49" fmla="*/ 245789 h 371021"/>
              <a:gd name="connsiteX50" fmla="*/ 269081 w 386837"/>
              <a:gd name="connsiteY50" fmla="*/ 243408 h 371021"/>
              <a:gd name="connsiteX51" fmla="*/ 273844 w 386837"/>
              <a:gd name="connsiteY51" fmla="*/ 226739 h 371021"/>
              <a:gd name="connsiteX52" fmla="*/ 283369 w 386837"/>
              <a:gd name="connsiteY52" fmla="*/ 212451 h 371021"/>
              <a:gd name="connsiteX53" fmla="*/ 288131 w 386837"/>
              <a:gd name="connsiteY53" fmla="*/ 155301 h 371021"/>
              <a:gd name="connsiteX54" fmla="*/ 290513 w 386837"/>
              <a:gd name="connsiteY54" fmla="*/ 145776 h 371021"/>
              <a:gd name="connsiteX55" fmla="*/ 300038 w 386837"/>
              <a:gd name="connsiteY55" fmla="*/ 141014 h 371021"/>
              <a:gd name="connsiteX56" fmla="*/ 307181 w 386837"/>
              <a:gd name="connsiteY56" fmla="*/ 133870 h 371021"/>
              <a:gd name="connsiteX57" fmla="*/ 311944 w 386837"/>
              <a:gd name="connsiteY57" fmla="*/ 126726 h 371021"/>
              <a:gd name="connsiteX58" fmla="*/ 319088 w 386837"/>
              <a:gd name="connsiteY58" fmla="*/ 121964 h 371021"/>
              <a:gd name="connsiteX59" fmla="*/ 321469 w 386837"/>
              <a:gd name="connsiteY59" fmla="*/ 112439 h 371021"/>
              <a:gd name="connsiteX60" fmla="*/ 335756 w 386837"/>
              <a:gd name="connsiteY60" fmla="*/ 105295 h 371021"/>
              <a:gd name="connsiteX61" fmla="*/ 340519 w 386837"/>
              <a:gd name="connsiteY61" fmla="*/ 95770 h 371021"/>
              <a:gd name="connsiteX62" fmla="*/ 350044 w 386837"/>
              <a:gd name="connsiteY62" fmla="*/ 93389 h 371021"/>
              <a:gd name="connsiteX63" fmla="*/ 357188 w 386837"/>
              <a:gd name="connsiteY63" fmla="*/ 88626 h 371021"/>
              <a:gd name="connsiteX64" fmla="*/ 357188 w 386837"/>
              <a:gd name="connsiteY64" fmla="*/ 52908 h 371021"/>
              <a:gd name="connsiteX65" fmla="*/ 347663 w 386837"/>
              <a:gd name="connsiteY65" fmla="*/ 50526 h 371021"/>
              <a:gd name="connsiteX66" fmla="*/ 338138 w 386837"/>
              <a:gd name="connsiteY66" fmla="*/ 45764 h 371021"/>
              <a:gd name="connsiteX67" fmla="*/ 335756 w 386837"/>
              <a:gd name="connsiteY67" fmla="*/ 38620 h 371021"/>
              <a:gd name="connsiteX68" fmla="*/ 345281 w 386837"/>
              <a:gd name="connsiteY68" fmla="*/ 24333 h 371021"/>
              <a:gd name="connsiteX69" fmla="*/ 359569 w 386837"/>
              <a:gd name="connsiteY69" fmla="*/ 19570 h 371021"/>
              <a:gd name="connsiteX70" fmla="*/ 366713 w 386837"/>
              <a:gd name="connsiteY70" fmla="*/ 17189 h 371021"/>
              <a:gd name="connsiteX71" fmla="*/ 378619 w 386837"/>
              <a:gd name="connsiteY71" fmla="*/ 5283 h 371021"/>
              <a:gd name="connsiteX72" fmla="*/ 371475 w 386837"/>
              <a:gd name="connsiteY72" fmla="*/ 2901 h 371021"/>
              <a:gd name="connsiteX73" fmla="*/ 359569 w 386837"/>
              <a:gd name="connsiteY73" fmla="*/ 12426 h 371021"/>
              <a:gd name="connsiteX74" fmla="*/ 352425 w 386837"/>
              <a:gd name="connsiteY74" fmla="*/ 14808 h 371021"/>
              <a:gd name="connsiteX75" fmla="*/ 338138 w 386837"/>
              <a:gd name="connsiteY75" fmla="*/ 26714 h 371021"/>
              <a:gd name="connsiteX76" fmla="*/ 323850 w 386837"/>
              <a:gd name="connsiteY76" fmla="*/ 36239 h 371021"/>
              <a:gd name="connsiteX77" fmla="*/ 314325 w 386837"/>
              <a:gd name="connsiteY77" fmla="*/ 45764 h 371021"/>
              <a:gd name="connsiteX78" fmla="*/ 311944 w 386837"/>
              <a:gd name="connsiteY78" fmla="*/ 52908 h 371021"/>
              <a:gd name="connsiteX79" fmla="*/ 307181 w 386837"/>
              <a:gd name="connsiteY79" fmla="*/ 60051 h 371021"/>
              <a:gd name="connsiteX80" fmla="*/ 300038 w 386837"/>
              <a:gd name="connsiteY80" fmla="*/ 86245 h 371021"/>
              <a:gd name="connsiteX81" fmla="*/ 297656 w 386837"/>
              <a:gd name="connsiteY81" fmla="*/ 93389 h 371021"/>
              <a:gd name="connsiteX82" fmla="*/ 290513 w 386837"/>
              <a:gd name="connsiteY82" fmla="*/ 98151 h 371021"/>
              <a:gd name="connsiteX83" fmla="*/ 283369 w 386837"/>
              <a:gd name="connsiteY83" fmla="*/ 105295 h 371021"/>
              <a:gd name="connsiteX84" fmla="*/ 273844 w 386837"/>
              <a:gd name="connsiteY84" fmla="*/ 117201 h 371021"/>
              <a:gd name="connsiteX85" fmla="*/ 269081 w 386837"/>
              <a:gd name="connsiteY85" fmla="*/ 126726 h 371021"/>
              <a:gd name="connsiteX86" fmla="*/ 238125 w 386837"/>
              <a:gd name="connsiteY86" fmla="*/ 133870 h 371021"/>
              <a:gd name="connsiteX87" fmla="*/ 219075 w 386837"/>
              <a:gd name="connsiteY87" fmla="*/ 138633 h 371021"/>
              <a:gd name="connsiteX88" fmla="*/ 207169 w 386837"/>
              <a:gd name="connsiteY88" fmla="*/ 143395 h 371021"/>
              <a:gd name="connsiteX89" fmla="*/ 200025 w 386837"/>
              <a:gd name="connsiteY89" fmla="*/ 145776 h 371021"/>
              <a:gd name="connsiteX90" fmla="*/ 150019 w 386837"/>
              <a:gd name="connsiteY90" fmla="*/ 148158 h 371021"/>
              <a:gd name="connsiteX91" fmla="*/ 138113 w 386837"/>
              <a:gd name="connsiteY91" fmla="*/ 150539 h 371021"/>
              <a:gd name="connsiteX92" fmla="*/ 130969 w 386837"/>
              <a:gd name="connsiteY92" fmla="*/ 167208 h 371021"/>
              <a:gd name="connsiteX93" fmla="*/ 121444 w 386837"/>
              <a:gd name="connsiteY93" fmla="*/ 171970 h 371021"/>
              <a:gd name="connsiteX94" fmla="*/ 95250 w 386837"/>
              <a:gd name="connsiteY94" fmla="*/ 179114 h 371021"/>
              <a:gd name="connsiteX95" fmla="*/ 88106 w 386837"/>
              <a:gd name="connsiteY95" fmla="*/ 193401 h 371021"/>
              <a:gd name="connsiteX96" fmla="*/ 80963 w 386837"/>
              <a:gd name="connsiteY96" fmla="*/ 200545 h 371021"/>
              <a:gd name="connsiteX97" fmla="*/ 76200 w 386837"/>
              <a:gd name="connsiteY97" fmla="*/ 210070 h 371021"/>
              <a:gd name="connsiteX98" fmla="*/ 71438 w 386837"/>
              <a:gd name="connsiteY98" fmla="*/ 217214 h 371021"/>
              <a:gd name="connsiteX99" fmla="*/ 64294 w 386837"/>
              <a:gd name="connsiteY99" fmla="*/ 238645 h 371021"/>
              <a:gd name="connsiteX100" fmla="*/ 54769 w 386837"/>
              <a:gd name="connsiteY100" fmla="*/ 241026 h 371021"/>
              <a:gd name="connsiteX101" fmla="*/ 50006 w 386837"/>
              <a:gd name="connsiteY101" fmla="*/ 250551 h 371021"/>
              <a:gd name="connsiteX102" fmla="*/ 54769 w 386837"/>
              <a:gd name="connsiteY102" fmla="*/ 248170 h 371021"/>
              <a:gd name="connsiteX103" fmla="*/ 54769 w 386837"/>
              <a:gd name="connsiteY103" fmla="*/ 248170 h 371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386837" h="371021">
                <a:moveTo>
                  <a:pt x="104775" y="179114"/>
                </a:moveTo>
                <a:lnTo>
                  <a:pt x="104775" y="179114"/>
                </a:lnTo>
                <a:cubicBezTo>
                  <a:pt x="99219" y="184670"/>
                  <a:pt x="93363" y="189942"/>
                  <a:pt x="88106" y="195783"/>
                </a:cubicBezTo>
                <a:cubicBezTo>
                  <a:pt x="86192" y="197910"/>
                  <a:pt x="84249" y="200211"/>
                  <a:pt x="83344" y="202926"/>
                </a:cubicBezTo>
                <a:cubicBezTo>
                  <a:pt x="81817" y="207507"/>
                  <a:pt x="82010" y="212501"/>
                  <a:pt x="80963" y="217214"/>
                </a:cubicBezTo>
                <a:cubicBezTo>
                  <a:pt x="80061" y="221272"/>
                  <a:pt x="76023" y="231239"/>
                  <a:pt x="73819" y="233883"/>
                </a:cubicBezTo>
                <a:cubicBezTo>
                  <a:pt x="71987" y="236082"/>
                  <a:pt x="69056" y="237058"/>
                  <a:pt x="66675" y="238645"/>
                </a:cubicBezTo>
                <a:cubicBezTo>
                  <a:pt x="65088" y="241026"/>
                  <a:pt x="63937" y="243765"/>
                  <a:pt x="61913" y="245789"/>
                </a:cubicBezTo>
                <a:cubicBezTo>
                  <a:pt x="56254" y="251448"/>
                  <a:pt x="47551" y="252957"/>
                  <a:pt x="40481" y="255314"/>
                </a:cubicBezTo>
                <a:lnTo>
                  <a:pt x="33338" y="257695"/>
                </a:lnTo>
                <a:cubicBezTo>
                  <a:pt x="32576" y="260742"/>
                  <a:pt x="30281" y="270951"/>
                  <a:pt x="28575" y="274364"/>
                </a:cubicBezTo>
                <a:cubicBezTo>
                  <a:pt x="27295" y="276924"/>
                  <a:pt x="25093" y="278948"/>
                  <a:pt x="23813" y="281508"/>
                </a:cubicBezTo>
                <a:cubicBezTo>
                  <a:pt x="22690" y="283753"/>
                  <a:pt x="23206" y="286876"/>
                  <a:pt x="21431" y="288651"/>
                </a:cubicBezTo>
                <a:cubicBezTo>
                  <a:pt x="19656" y="290426"/>
                  <a:pt x="16533" y="289910"/>
                  <a:pt x="14288" y="291033"/>
                </a:cubicBezTo>
                <a:cubicBezTo>
                  <a:pt x="-4166" y="300260"/>
                  <a:pt x="17947" y="292195"/>
                  <a:pt x="0" y="298176"/>
                </a:cubicBezTo>
                <a:lnTo>
                  <a:pt x="4763" y="312464"/>
                </a:lnTo>
                <a:cubicBezTo>
                  <a:pt x="5557" y="314845"/>
                  <a:pt x="4763" y="318814"/>
                  <a:pt x="7144" y="319608"/>
                </a:cubicBezTo>
                <a:lnTo>
                  <a:pt x="21431" y="324370"/>
                </a:lnTo>
                <a:cubicBezTo>
                  <a:pt x="23364" y="330168"/>
                  <a:pt x="26357" y="334882"/>
                  <a:pt x="21431" y="341039"/>
                </a:cubicBezTo>
                <a:cubicBezTo>
                  <a:pt x="19863" y="342999"/>
                  <a:pt x="16669" y="342626"/>
                  <a:pt x="14288" y="343420"/>
                </a:cubicBezTo>
                <a:cubicBezTo>
                  <a:pt x="38812" y="359773"/>
                  <a:pt x="12889" y="344161"/>
                  <a:pt x="80963" y="352945"/>
                </a:cubicBezTo>
                <a:cubicBezTo>
                  <a:pt x="91502" y="354305"/>
                  <a:pt x="94758" y="357380"/>
                  <a:pt x="102394" y="362470"/>
                </a:cubicBezTo>
                <a:cubicBezTo>
                  <a:pt x="103981" y="364851"/>
                  <a:pt x="104299" y="369455"/>
                  <a:pt x="107156" y="369614"/>
                </a:cubicBezTo>
                <a:cubicBezTo>
                  <a:pt x="143343" y="371624"/>
                  <a:pt x="139218" y="373906"/>
                  <a:pt x="150019" y="357708"/>
                </a:cubicBezTo>
                <a:cubicBezTo>
                  <a:pt x="150813" y="354533"/>
                  <a:pt x="152863" y="351423"/>
                  <a:pt x="152400" y="348183"/>
                </a:cubicBezTo>
                <a:cubicBezTo>
                  <a:pt x="151995" y="345350"/>
                  <a:pt x="148765" y="343669"/>
                  <a:pt x="147638" y="341039"/>
                </a:cubicBezTo>
                <a:cubicBezTo>
                  <a:pt x="147245" y="340122"/>
                  <a:pt x="144298" y="326149"/>
                  <a:pt x="142875" y="324370"/>
                </a:cubicBezTo>
                <a:cubicBezTo>
                  <a:pt x="141087" y="322135"/>
                  <a:pt x="138112" y="321195"/>
                  <a:pt x="135731" y="319608"/>
                </a:cubicBezTo>
                <a:cubicBezTo>
                  <a:pt x="132556" y="314845"/>
                  <a:pt x="128016" y="310750"/>
                  <a:pt x="126206" y="305320"/>
                </a:cubicBezTo>
                <a:lnTo>
                  <a:pt x="121444" y="291033"/>
                </a:lnTo>
                <a:cubicBezTo>
                  <a:pt x="122028" y="286947"/>
                  <a:pt x="122769" y="269203"/>
                  <a:pt x="128588" y="264839"/>
                </a:cubicBezTo>
                <a:cubicBezTo>
                  <a:pt x="132604" y="261827"/>
                  <a:pt x="138113" y="261664"/>
                  <a:pt x="142875" y="260076"/>
                </a:cubicBezTo>
                <a:cubicBezTo>
                  <a:pt x="152736" y="256789"/>
                  <a:pt x="147928" y="259089"/>
                  <a:pt x="157163" y="252933"/>
                </a:cubicBezTo>
                <a:cubicBezTo>
                  <a:pt x="158750" y="248170"/>
                  <a:pt x="159140" y="242822"/>
                  <a:pt x="161925" y="238645"/>
                </a:cubicBezTo>
                <a:lnTo>
                  <a:pt x="171450" y="224358"/>
                </a:lnTo>
                <a:cubicBezTo>
                  <a:pt x="174943" y="185928"/>
                  <a:pt x="165021" y="203641"/>
                  <a:pt x="183356" y="195783"/>
                </a:cubicBezTo>
                <a:cubicBezTo>
                  <a:pt x="185987" y="194656"/>
                  <a:pt x="188119" y="192608"/>
                  <a:pt x="190500" y="191020"/>
                </a:cubicBezTo>
                <a:cubicBezTo>
                  <a:pt x="193874" y="204516"/>
                  <a:pt x="193976" y="199833"/>
                  <a:pt x="190500" y="217214"/>
                </a:cubicBezTo>
                <a:cubicBezTo>
                  <a:pt x="190008" y="219675"/>
                  <a:pt x="189687" y="222398"/>
                  <a:pt x="188119" y="224358"/>
                </a:cubicBezTo>
                <a:cubicBezTo>
                  <a:pt x="186331" y="226593"/>
                  <a:pt x="183356" y="227533"/>
                  <a:pt x="180975" y="229120"/>
                </a:cubicBezTo>
                <a:cubicBezTo>
                  <a:pt x="179388" y="231501"/>
                  <a:pt x="178237" y="234240"/>
                  <a:pt x="176213" y="236264"/>
                </a:cubicBezTo>
                <a:cubicBezTo>
                  <a:pt x="174189" y="238288"/>
                  <a:pt x="170901" y="238828"/>
                  <a:pt x="169069" y="241026"/>
                </a:cubicBezTo>
                <a:cubicBezTo>
                  <a:pt x="166796" y="243753"/>
                  <a:pt x="165894" y="247376"/>
                  <a:pt x="164306" y="250551"/>
                </a:cubicBezTo>
                <a:cubicBezTo>
                  <a:pt x="165100" y="252932"/>
                  <a:pt x="165699" y="255388"/>
                  <a:pt x="166688" y="257695"/>
                </a:cubicBezTo>
                <a:cubicBezTo>
                  <a:pt x="170315" y="266158"/>
                  <a:pt x="171428" y="267187"/>
                  <a:pt x="176213" y="274364"/>
                </a:cubicBezTo>
                <a:cubicBezTo>
                  <a:pt x="179854" y="296211"/>
                  <a:pt x="175968" y="302107"/>
                  <a:pt x="216694" y="286270"/>
                </a:cubicBezTo>
                <a:cubicBezTo>
                  <a:pt x="221373" y="284451"/>
                  <a:pt x="216586" y="273201"/>
                  <a:pt x="221456" y="271983"/>
                </a:cubicBezTo>
                <a:lnTo>
                  <a:pt x="230981" y="269601"/>
                </a:lnTo>
                <a:cubicBezTo>
                  <a:pt x="231775" y="267220"/>
                  <a:pt x="232144" y="264652"/>
                  <a:pt x="233363" y="262458"/>
                </a:cubicBezTo>
                <a:cubicBezTo>
                  <a:pt x="244097" y="243138"/>
                  <a:pt x="239825" y="248553"/>
                  <a:pt x="261938" y="245789"/>
                </a:cubicBezTo>
                <a:cubicBezTo>
                  <a:pt x="264319" y="244995"/>
                  <a:pt x="267306" y="245183"/>
                  <a:pt x="269081" y="243408"/>
                </a:cubicBezTo>
                <a:cubicBezTo>
                  <a:pt x="270254" y="242235"/>
                  <a:pt x="273780" y="226867"/>
                  <a:pt x="273844" y="226739"/>
                </a:cubicBezTo>
                <a:cubicBezTo>
                  <a:pt x="276404" y="221619"/>
                  <a:pt x="283369" y="212451"/>
                  <a:pt x="283369" y="212451"/>
                </a:cubicBezTo>
                <a:cubicBezTo>
                  <a:pt x="291364" y="188467"/>
                  <a:pt x="283392" y="214530"/>
                  <a:pt x="288131" y="155301"/>
                </a:cubicBezTo>
                <a:cubicBezTo>
                  <a:pt x="288392" y="152039"/>
                  <a:pt x="288418" y="148290"/>
                  <a:pt x="290513" y="145776"/>
                </a:cubicBezTo>
                <a:cubicBezTo>
                  <a:pt x="292786" y="143049"/>
                  <a:pt x="296863" y="142601"/>
                  <a:pt x="300038" y="141014"/>
                </a:cubicBezTo>
                <a:cubicBezTo>
                  <a:pt x="302419" y="138633"/>
                  <a:pt x="305025" y="136457"/>
                  <a:pt x="307181" y="133870"/>
                </a:cubicBezTo>
                <a:cubicBezTo>
                  <a:pt x="309013" y="131671"/>
                  <a:pt x="309920" y="128750"/>
                  <a:pt x="311944" y="126726"/>
                </a:cubicBezTo>
                <a:cubicBezTo>
                  <a:pt x="313968" y="124702"/>
                  <a:pt x="316707" y="123551"/>
                  <a:pt x="319088" y="121964"/>
                </a:cubicBezTo>
                <a:cubicBezTo>
                  <a:pt x="319882" y="118789"/>
                  <a:pt x="319654" y="115162"/>
                  <a:pt x="321469" y="112439"/>
                </a:cubicBezTo>
                <a:cubicBezTo>
                  <a:pt x="324107" y="108482"/>
                  <a:pt x="331680" y="106654"/>
                  <a:pt x="335756" y="105295"/>
                </a:cubicBezTo>
                <a:cubicBezTo>
                  <a:pt x="337344" y="102120"/>
                  <a:pt x="337792" y="98042"/>
                  <a:pt x="340519" y="95770"/>
                </a:cubicBezTo>
                <a:cubicBezTo>
                  <a:pt x="343033" y="93675"/>
                  <a:pt x="347036" y="94678"/>
                  <a:pt x="350044" y="93389"/>
                </a:cubicBezTo>
                <a:cubicBezTo>
                  <a:pt x="352675" y="92262"/>
                  <a:pt x="354807" y="90214"/>
                  <a:pt x="357188" y="88626"/>
                </a:cubicBezTo>
                <a:cubicBezTo>
                  <a:pt x="360352" y="75968"/>
                  <a:pt x="363463" y="67968"/>
                  <a:pt x="357188" y="52908"/>
                </a:cubicBezTo>
                <a:cubicBezTo>
                  <a:pt x="355929" y="49887"/>
                  <a:pt x="350727" y="51675"/>
                  <a:pt x="347663" y="50526"/>
                </a:cubicBezTo>
                <a:cubicBezTo>
                  <a:pt x="344339" y="49280"/>
                  <a:pt x="341313" y="47351"/>
                  <a:pt x="338138" y="45764"/>
                </a:cubicBezTo>
                <a:cubicBezTo>
                  <a:pt x="337344" y="43383"/>
                  <a:pt x="335756" y="41130"/>
                  <a:pt x="335756" y="38620"/>
                </a:cubicBezTo>
                <a:cubicBezTo>
                  <a:pt x="335756" y="30194"/>
                  <a:pt x="338105" y="27523"/>
                  <a:pt x="345281" y="24333"/>
                </a:cubicBezTo>
                <a:cubicBezTo>
                  <a:pt x="349869" y="22294"/>
                  <a:pt x="354806" y="21158"/>
                  <a:pt x="359569" y="19570"/>
                </a:cubicBezTo>
                <a:lnTo>
                  <a:pt x="366713" y="17189"/>
                </a:lnTo>
                <a:cubicBezTo>
                  <a:pt x="385765" y="4485"/>
                  <a:pt x="362740" y="21160"/>
                  <a:pt x="378619" y="5283"/>
                </a:cubicBezTo>
                <a:cubicBezTo>
                  <a:pt x="385317" y="-1415"/>
                  <a:pt x="396115" y="-1205"/>
                  <a:pt x="371475" y="2901"/>
                </a:cubicBezTo>
                <a:cubicBezTo>
                  <a:pt x="353517" y="8889"/>
                  <a:pt x="374956" y="116"/>
                  <a:pt x="359569" y="12426"/>
                </a:cubicBezTo>
                <a:cubicBezTo>
                  <a:pt x="357609" y="13994"/>
                  <a:pt x="354806" y="14014"/>
                  <a:pt x="352425" y="14808"/>
                </a:cubicBezTo>
                <a:cubicBezTo>
                  <a:pt x="331544" y="35686"/>
                  <a:pt x="358037" y="10130"/>
                  <a:pt x="338138" y="26714"/>
                </a:cubicBezTo>
                <a:cubicBezTo>
                  <a:pt x="326248" y="36623"/>
                  <a:pt x="336403" y="32055"/>
                  <a:pt x="323850" y="36239"/>
                </a:cubicBezTo>
                <a:cubicBezTo>
                  <a:pt x="317501" y="55290"/>
                  <a:pt x="327025" y="33064"/>
                  <a:pt x="314325" y="45764"/>
                </a:cubicBezTo>
                <a:cubicBezTo>
                  <a:pt x="312550" y="47539"/>
                  <a:pt x="313067" y="50663"/>
                  <a:pt x="311944" y="52908"/>
                </a:cubicBezTo>
                <a:cubicBezTo>
                  <a:pt x="310664" y="55468"/>
                  <a:pt x="308769" y="57670"/>
                  <a:pt x="307181" y="60051"/>
                </a:cubicBezTo>
                <a:cubicBezTo>
                  <a:pt x="302897" y="94325"/>
                  <a:pt x="309042" y="68238"/>
                  <a:pt x="300038" y="86245"/>
                </a:cubicBezTo>
                <a:cubicBezTo>
                  <a:pt x="298915" y="88490"/>
                  <a:pt x="299224" y="91429"/>
                  <a:pt x="297656" y="93389"/>
                </a:cubicBezTo>
                <a:cubicBezTo>
                  <a:pt x="295868" y="95624"/>
                  <a:pt x="292711" y="96319"/>
                  <a:pt x="290513" y="98151"/>
                </a:cubicBezTo>
                <a:cubicBezTo>
                  <a:pt x="287926" y="100307"/>
                  <a:pt x="285750" y="102914"/>
                  <a:pt x="283369" y="105295"/>
                </a:cubicBezTo>
                <a:cubicBezTo>
                  <a:pt x="277685" y="122351"/>
                  <a:pt x="285811" y="102842"/>
                  <a:pt x="273844" y="117201"/>
                </a:cubicBezTo>
                <a:cubicBezTo>
                  <a:pt x="271571" y="119928"/>
                  <a:pt x="271921" y="124596"/>
                  <a:pt x="269081" y="126726"/>
                </a:cubicBezTo>
                <a:cubicBezTo>
                  <a:pt x="262314" y="131801"/>
                  <a:pt x="245402" y="132414"/>
                  <a:pt x="238125" y="133870"/>
                </a:cubicBezTo>
                <a:cubicBezTo>
                  <a:pt x="231707" y="135154"/>
                  <a:pt x="225425" y="137045"/>
                  <a:pt x="219075" y="138633"/>
                </a:cubicBezTo>
                <a:cubicBezTo>
                  <a:pt x="214928" y="139670"/>
                  <a:pt x="211171" y="141894"/>
                  <a:pt x="207169" y="143395"/>
                </a:cubicBezTo>
                <a:cubicBezTo>
                  <a:pt x="204819" y="144276"/>
                  <a:pt x="202526" y="145568"/>
                  <a:pt x="200025" y="145776"/>
                </a:cubicBezTo>
                <a:cubicBezTo>
                  <a:pt x="183395" y="147162"/>
                  <a:pt x="166688" y="147364"/>
                  <a:pt x="150019" y="148158"/>
                </a:cubicBezTo>
                <a:cubicBezTo>
                  <a:pt x="146050" y="148952"/>
                  <a:pt x="141406" y="148187"/>
                  <a:pt x="138113" y="150539"/>
                </a:cubicBezTo>
                <a:cubicBezTo>
                  <a:pt x="124020" y="160605"/>
                  <a:pt x="140276" y="157901"/>
                  <a:pt x="130969" y="167208"/>
                </a:cubicBezTo>
                <a:cubicBezTo>
                  <a:pt x="128459" y="169718"/>
                  <a:pt x="124526" y="170209"/>
                  <a:pt x="121444" y="171970"/>
                </a:cubicBezTo>
                <a:cubicBezTo>
                  <a:pt x="106314" y="180616"/>
                  <a:pt x="123091" y="175634"/>
                  <a:pt x="95250" y="179114"/>
                </a:cubicBezTo>
                <a:cubicBezTo>
                  <a:pt x="92863" y="186276"/>
                  <a:pt x="93237" y="187244"/>
                  <a:pt x="88106" y="193401"/>
                </a:cubicBezTo>
                <a:cubicBezTo>
                  <a:pt x="85950" y="195988"/>
                  <a:pt x="82920" y="197805"/>
                  <a:pt x="80963" y="200545"/>
                </a:cubicBezTo>
                <a:cubicBezTo>
                  <a:pt x="78900" y="203434"/>
                  <a:pt x="77961" y="206988"/>
                  <a:pt x="76200" y="210070"/>
                </a:cubicBezTo>
                <a:cubicBezTo>
                  <a:pt x="74780" y="212555"/>
                  <a:pt x="72600" y="214599"/>
                  <a:pt x="71438" y="217214"/>
                </a:cubicBezTo>
                <a:cubicBezTo>
                  <a:pt x="71432" y="217228"/>
                  <a:pt x="65487" y="235066"/>
                  <a:pt x="64294" y="238645"/>
                </a:cubicBezTo>
                <a:cubicBezTo>
                  <a:pt x="63259" y="241750"/>
                  <a:pt x="57944" y="240232"/>
                  <a:pt x="54769" y="241026"/>
                </a:cubicBezTo>
                <a:cubicBezTo>
                  <a:pt x="52033" y="249235"/>
                  <a:pt x="54163" y="246395"/>
                  <a:pt x="50006" y="250551"/>
                </a:cubicBezTo>
                <a:lnTo>
                  <a:pt x="54769" y="248170"/>
                </a:lnTo>
                <a:lnTo>
                  <a:pt x="54769" y="248170"/>
                </a:lnTo>
              </a:path>
            </a:pathLst>
          </a:custGeom>
          <a:solidFill>
            <a:srgbClr val="7ABB3C"/>
          </a:solidFill>
          <a:ln>
            <a:solidFill>
              <a:srgbClr val="7ABB3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/>
            <a:endParaRPr lang="en-US" sz="1400" dirty="0">
              <a:solidFill>
                <a:prstClr val="white"/>
              </a:solidFill>
            </a:endParaRPr>
          </a:p>
        </p:txBody>
      </p:sp>
      <p:sp>
        <p:nvSpPr>
          <p:cNvPr id="2014" name="Rectangle 2013"/>
          <p:cNvSpPr/>
          <p:nvPr/>
        </p:nvSpPr>
        <p:spPr>
          <a:xfrm>
            <a:off x="4284283" y="3579163"/>
            <a:ext cx="1438183" cy="5128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2P </a:t>
            </a:r>
            <a:r>
              <a:rPr lang="en-US" sz="1400" b="1" dirty="0" err="1" smtClean="0"/>
              <a:t>Reservas</a:t>
            </a:r>
            <a:endParaRPr lang="en-US" sz="1400" b="1" dirty="0"/>
          </a:p>
        </p:txBody>
      </p:sp>
      <p:sp>
        <p:nvSpPr>
          <p:cNvPr id="2015" name="Rectangle 2014"/>
          <p:cNvSpPr/>
          <p:nvPr/>
        </p:nvSpPr>
        <p:spPr>
          <a:xfrm>
            <a:off x="5846351" y="3579163"/>
            <a:ext cx="1438183" cy="5128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3P </a:t>
            </a:r>
            <a:r>
              <a:rPr lang="en-US" sz="1400" b="1" dirty="0" err="1" smtClean="0"/>
              <a:t>Reservas</a:t>
            </a:r>
            <a:endParaRPr lang="en-US" sz="1400" b="1" dirty="0"/>
          </a:p>
        </p:txBody>
      </p:sp>
      <p:sp>
        <p:nvSpPr>
          <p:cNvPr id="2016" name="Rectangle 2015"/>
          <p:cNvSpPr/>
          <p:nvPr/>
        </p:nvSpPr>
        <p:spPr>
          <a:xfrm>
            <a:off x="7404698" y="3579163"/>
            <a:ext cx="1438183" cy="5128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err="1" smtClean="0"/>
              <a:t>Prospectivas</a:t>
            </a:r>
            <a:endParaRPr lang="en-US" sz="1400" b="1" dirty="0"/>
          </a:p>
        </p:txBody>
      </p:sp>
      <p:sp>
        <p:nvSpPr>
          <p:cNvPr id="2017" name="Rectangle 2016"/>
          <p:cNvSpPr/>
          <p:nvPr/>
        </p:nvSpPr>
        <p:spPr>
          <a:xfrm>
            <a:off x="4285893" y="4092055"/>
            <a:ext cx="1438183" cy="9594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</a:rPr>
              <a:t>MMMboe</a:t>
            </a:r>
            <a:endParaRPr lang="en-US" sz="1200" dirty="0" smtClean="0">
              <a:solidFill>
                <a:schemeClr val="tx1"/>
              </a:solidFill>
            </a:endParaRPr>
          </a:p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26.2</a:t>
            </a:r>
            <a:endParaRPr lang="en-US" sz="3200" b="1" dirty="0">
              <a:solidFill>
                <a:schemeClr val="tx1"/>
              </a:solidFill>
            </a:endParaRPr>
          </a:p>
        </p:txBody>
      </p:sp>
      <p:sp>
        <p:nvSpPr>
          <p:cNvPr id="2018" name="Rectangle 2017"/>
          <p:cNvSpPr/>
          <p:nvPr/>
        </p:nvSpPr>
        <p:spPr>
          <a:xfrm>
            <a:off x="5846350" y="4092054"/>
            <a:ext cx="1438183" cy="9594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</a:rPr>
              <a:t>MMMboe</a:t>
            </a:r>
            <a:endParaRPr lang="en-US" sz="1200" dirty="0" smtClean="0">
              <a:solidFill>
                <a:schemeClr val="tx1"/>
              </a:solidFill>
            </a:endParaRPr>
          </a:p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44.5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2019" name="Rectangle 2018"/>
          <p:cNvSpPr/>
          <p:nvPr/>
        </p:nvSpPr>
        <p:spPr>
          <a:xfrm>
            <a:off x="7407485" y="4092053"/>
            <a:ext cx="1438183" cy="9594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200" dirty="0" err="1" smtClean="0">
                <a:solidFill>
                  <a:schemeClr val="tx1"/>
                </a:solidFill>
              </a:rPr>
              <a:t>MMMboe</a:t>
            </a:r>
            <a:endParaRPr lang="en-US" sz="1200" dirty="0" smtClean="0">
              <a:solidFill>
                <a:schemeClr val="tx1"/>
              </a:solidFill>
            </a:endParaRPr>
          </a:p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104.8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577009" y="4739603"/>
            <a:ext cx="12870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57</a:t>
            </a:r>
            <a:r>
              <a:rPr lang="es-MX" sz="1400" dirty="0" smtClean="0"/>
              <a:t>% No </a:t>
            </a:r>
            <a:r>
              <a:rPr lang="es-MX" sz="1400" dirty="0" err="1" smtClean="0"/>
              <a:t>conv</a:t>
            </a:r>
            <a:r>
              <a:rPr lang="es-MX" sz="1400" dirty="0" smtClean="0"/>
              <a:t>.</a:t>
            </a:r>
            <a:endParaRPr lang="es-MX" sz="1400" dirty="0"/>
          </a:p>
        </p:txBody>
      </p:sp>
      <p:graphicFrame>
        <p:nvGraphicFramePr>
          <p:cNvPr id="10" name="Chart 9"/>
          <p:cNvGraphicFramePr/>
          <p:nvPr>
            <p:extLst/>
          </p:nvPr>
        </p:nvGraphicFramePr>
        <p:xfrm>
          <a:off x="4037989" y="5102399"/>
          <a:ext cx="2019978" cy="1465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020" name="Chart 2019"/>
          <p:cNvGraphicFramePr/>
          <p:nvPr>
            <p:extLst/>
          </p:nvPr>
        </p:nvGraphicFramePr>
        <p:xfrm>
          <a:off x="5551217" y="5102399"/>
          <a:ext cx="2019978" cy="1465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021" name="Chart 2020"/>
          <p:cNvGraphicFramePr/>
          <p:nvPr>
            <p:extLst/>
          </p:nvPr>
        </p:nvGraphicFramePr>
        <p:xfrm>
          <a:off x="7110848" y="5102399"/>
          <a:ext cx="2019978" cy="1465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022" name="TextBox 2021"/>
          <p:cNvSpPr txBox="1"/>
          <p:nvPr/>
        </p:nvSpPr>
        <p:spPr>
          <a:xfrm>
            <a:off x="4704384" y="6492288"/>
            <a:ext cx="38571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Requeridos por PEMEX en ronda 0           Sin requerir</a:t>
            </a:r>
            <a:endParaRPr lang="es-MX" sz="1200" dirty="0"/>
          </a:p>
        </p:txBody>
      </p:sp>
      <p:sp>
        <p:nvSpPr>
          <p:cNvPr id="11" name="Rectangle 10"/>
          <p:cNvSpPr/>
          <p:nvPr/>
        </p:nvSpPr>
        <p:spPr>
          <a:xfrm>
            <a:off x="4554239" y="6539078"/>
            <a:ext cx="172447" cy="17244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23" name="Rectangle 2022"/>
          <p:cNvSpPr/>
          <p:nvPr/>
        </p:nvSpPr>
        <p:spPr>
          <a:xfrm>
            <a:off x="7403756" y="6549175"/>
            <a:ext cx="172447" cy="172447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24" name="TextBox 2023"/>
          <p:cNvSpPr txBox="1"/>
          <p:nvPr/>
        </p:nvSpPr>
        <p:spPr>
          <a:xfrm>
            <a:off x="5853283" y="4739603"/>
            <a:ext cx="14643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/>
              <a:t>2</a:t>
            </a:r>
            <a:r>
              <a:rPr lang="es-MX" sz="1400" b="1" dirty="0" smtClean="0"/>
              <a:t>7</a:t>
            </a:r>
            <a:r>
              <a:rPr lang="es-MX" sz="1400" dirty="0" smtClean="0"/>
              <a:t>% Tampico-Mis</a:t>
            </a:r>
            <a:endParaRPr lang="es-MX" sz="1400" dirty="0"/>
          </a:p>
        </p:txBody>
      </p:sp>
      <p:sp>
        <p:nvSpPr>
          <p:cNvPr id="2025" name="TextBox 2024"/>
          <p:cNvSpPr txBox="1"/>
          <p:nvPr/>
        </p:nvSpPr>
        <p:spPr>
          <a:xfrm>
            <a:off x="4378006" y="4739603"/>
            <a:ext cx="12105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87</a:t>
            </a:r>
            <a:r>
              <a:rPr lang="es-MX" sz="1400" dirty="0" smtClean="0"/>
              <a:t>% Sureste</a:t>
            </a:r>
            <a:endParaRPr lang="es-MX" sz="1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33131" y="6535336"/>
            <a:ext cx="2133600" cy="365125"/>
          </a:xfrm>
        </p:spPr>
        <p:txBody>
          <a:bodyPr vert="horz" lIns="91440" tIns="45720" rIns="91440" bIns="45720" rtlCol="0" anchor="ctr"/>
          <a:lstStyle/>
          <a:p>
            <a:pPr algn="r"/>
            <a:fld id="{321472DF-6A55-4536-81D8-918B699CF287}" type="slidenum">
              <a:rPr lang="es-MX"/>
              <a:pPr algn="r"/>
              <a:t>14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733958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7997" y="923072"/>
            <a:ext cx="8242797" cy="973967"/>
          </a:xfrm>
        </p:spPr>
        <p:txBody>
          <a:bodyPr/>
          <a:lstStyle/>
          <a:p>
            <a:pPr marL="0" indent="0">
              <a:buNone/>
            </a:pPr>
            <a:r>
              <a:rPr lang="es-MX" b="1" dirty="0" smtClean="0"/>
              <a:t>	</a:t>
            </a:r>
          </a:p>
          <a:p>
            <a:pPr marL="0" indent="0">
              <a:buNone/>
            </a:pPr>
            <a:r>
              <a:rPr lang="es-MX" b="1" dirty="0" smtClean="0"/>
              <a:t>¿Causan contaminación de acuíferos? : </a:t>
            </a:r>
          </a:p>
          <a:p>
            <a:pPr marL="0" indent="0">
              <a:buNone/>
            </a:pPr>
            <a:endParaRPr lang="es-MX" dirty="0" smtClean="0"/>
          </a:p>
          <a:p>
            <a:pPr marL="0" indent="0">
              <a:buNone/>
            </a:pPr>
            <a:r>
              <a:rPr lang="es-MX" sz="1900" dirty="0" smtClean="0"/>
              <a:t>NO CAUSA contaminación. </a:t>
            </a:r>
            <a:r>
              <a:rPr lang="es-MX" sz="1900" i="1" dirty="0" err="1" smtClean="0"/>
              <a:t>Casing</a:t>
            </a:r>
            <a:r>
              <a:rPr lang="es-MX" sz="1900" dirty="0" smtClean="0"/>
              <a:t>  y profundidad de pozo demuestran que esta muy lejos de la zona de acuíferos.</a:t>
            </a:r>
          </a:p>
          <a:p>
            <a:pPr marL="0" indent="0"/>
            <a:endParaRPr lang="es-MX" b="1" dirty="0" smtClean="0"/>
          </a:p>
          <a:p>
            <a:pPr marL="0" indent="0"/>
            <a:endParaRPr lang="es-MX" b="1" dirty="0"/>
          </a:p>
          <a:p>
            <a:pPr marL="0" indent="0">
              <a:buNone/>
            </a:pPr>
            <a:endParaRPr lang="es-MX" b="1" dirty="0" smtClean="0"/>
          </a:p>
          <a:p>
            <a:pPr marL="0" indent="0">
              <a:buNone/>
            </a:pPr>
            <a:endParaRPr lang="es-MX" b="1" dirty="0"/>
          </a:p>
          <a:p>
            <a:pPr marL="0" indent="0">
              <a:buNone/>
            </a:pPr>
            <a:endParaRPr lang="es-MX" b="1" dirty="0" smtClean="0"/>
          </a:p>
          <a:p>
            <a:pPr marL="0" indent="0">
              <a:buNone/>
            </a:pPr>
            <a:endParaRPr lang="es-MX" b="1" dirty="0"/>
          </a:p>
          <a:p>
            <a:pPr marL="0" indent="0">
              <a:buNone/>
            </a:pPr>
            <a:endParaRPr lang="es-MX" b="1" dirty="0" smtClean="0"/>
          </a:p>
          <a:p>
            <a:pPr marL="0" indent="0">
              <a:buNone/>
            </a:pPr>
            <a:endParaRPr lang="es-MX" b="1" dirty="0" smtClean="0"/>
          </a:p>
          <a:p>
            <a:pPr marL="0" indent="0">
              <a:buNone/>
            </a:pPr>
            <a:endParaRPr lang="es-MX" b="1" dirty="0"/>
          </a:p>
          <a:p>
            <a:pPr marL="0" indent="0">
              <a:buNone/>
            </a:pPr>
            <a:endParaRPr lang="es-MX" b="1" dirty="0"/>
          </a:p>
          <a:p>
            <a:pPr marL="0" indent="0">
              <a:buNone/>
            </a:pPr>
            <a:endParaRPr lang="es-MX" dirty="0" smtClean="0"/>
          </a:p>
          <a:p>
            <a:pPr marL="457200" lvl="1" indent="0">
              <a:buNone/>
            </a:pPr>
            <a:r>
              <a:rPr lang="es-MX" dirty="0" smtClean="0"/>
              <a:t> </a:t>
            </a:r>
          </a:p>
          <a:p>
            <a:pPr>
              <a:buNone/>
            </a:pPr>
            <a:r>
              <a:rPr lang="es-MX" dirty="0" smtClean="0"/>
              <a:t>							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s-MX" sz="2800" b="1" dirty="0">
                <a:solidFill>
                  <a:srgbClr val="5780AE"/>
                </a:solidFill>
              </a:rPr>
              <a:t>Preguntas frecuentes sobre </a:t>
            </a:r>
            <a:r>
              <a:rPr lang="es-MX" sz="2800" b="1" dirty="0" err="1" smtClean="0">
                <a:solidFill>
                  <a:srgbClr val="5780AE"/>
                </a:solidFill>
              </a:rPr>
              <a:t>shales</a:t>
            </a:r>
            <a:endParaRPr lang="es-MX" sz="2800" b="1" dirty="0" smtClean="0">
              <a:solidFill>
                <a:srgbClr val="5780AE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94553" y="6526060"/>
            <a:ext cx="1929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>
                <a:solidFill>
                  <a:srgbClr val="FF0000"/>
                </a:solidFill>
                <a:latin typeface="Arial Narrow" pitchFamily="34" charset="0"/>
              </a:rPr>
              <a:t>CONFIDENCIAL</a:t>
            </a:r>
            <a:endParaRPr lang="es-MX" sz="12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13156" y="2722994"/>
            <a:ext cx="6893932" cy="3998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720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9170"/>
            <a:ext cx="7086600" cy="1199254"/>
          </a:xfrm>
        </p:spPr>
        <p:txBody>
          <a:bodyPr>
            <a:noAutofit/>
          </a:bodyPr>
          <a:lstStyle/>
          <a:p>
            <a:pPr algn="l"/>
            <a:r>
              <a:rPr lang="es-MX" sz="2800" b="1" dirty="0" smtClean="0">
                <a:solidFill>
                  <a:srgbClr val="5780AE"/>
                </a:solidFill>
              </a:rPr>
              <a:t>Perforación y cuidado de fuentes de agua  “</a:t>
            </a:r>
            <a:r>
              <a:rPr lang="es-MX" sz="2800" b="1" i="1" dirty="0" smtClean="0">
                <a:solidFill>
                  <a:srgbClr val="5780AE"/>
                </a:solidFill>
              </a:rPr>
              <a:t>casing</a:t>
            </a:r>
            <a:r>
              <a:rPr lang="es-MX" sz="2800" b="1" dirty="0" smtClean="0">
                <a:solidFill>
                  <a:srgbClr val="5780AE"/>
                </a:solidFill>
              </a:rPr>
              <a:t>”</a:t>
            </a:r>
            <a:br>
              <a:rPr lang="es-MX" sz="2800" b="1" dirty="0" smtClean="0">
                <a:solidFill>
                  <a:srgbClr val="5780AE"/>
                </a:solidFill>
              </a:rPr>
            </a:br>
            <a:endParaRPr lang="es-MX" sz="2800" b="1" dirty="0">
              <a:solidFill>
                <a:srgbClr val="5780A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27395" y="1577247"/>
            <a:ext cx="4285397" cy="3057640"/>
          </a:xfrm>
        </p:spPr>
        <p:txBody>
          <a:bodyPr/>
          <a:lstStyle/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El proceso utiliza múltiples capas de tubería de acero y cemento </a:t>
            </a:r>
          </a:p>
          <a:p>
            <a:endParaRPr lang="es-MX" sz="1900" dirty="0" smtClean="0">
              <a:latin typeface="Arial" pitchFamily="34" charset="0"/>
              <a:cs typeface="Arial" pitchFamily="34" charset="0"/>
            </a:endParaRPr>
          </a:p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Actúan como aislamiento entre el acuífero y los fluidos de fracturación, gas y crudo </a:t>
            </a:r>
          </a:p>
          <a:p>
            <a:endParaRPr lang="es-MX" sz="1900" dirty="0" smtClean="0">
              <a:latin typeface="Arial" pitchFamily="34" charset="0"/>
              <a:cs typeface="Arial" pitchFamily="34" charset="0"/>
            </a:endParaRPr>
          </a:p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El </a:t>
            </a:r>
            <a:r>
              <a:rPr lang="es-MX" sz="1900" i="1" dirty="0" smtClean="0">
                <a:latin typeface="Arial" pitchFamily="34" charset="0"/>
                <a:cs typeface="Arial" pitchFamily="34" charset="0"/>
              </a:rPr>
              <a:t>casing</a:t>
            </a:r>
            <a:r>
              <a:rPr lang="es-MX" sz="1900" dirty="0" smtClean="0">
                <a:latin typeface="Arial" pitchFamily="34" charset="0"/>
                <a:cs typeface="Arial" pitchFamily="34" charset="0"/>
              </a:rPr>
              <a:t> superficial va hasta 1500 ft (500 m) por debajo del acuífero y hasta 3.5-5 km </a:t>
            </a:r>
          </a:p>
          <a:p>
            <a:endParaRPr lang="es-MX" sz="1900" dirty="0" smtClean="0">
              <a:latin typeface="Arial" pitchFamily="34" charset="0"/>
              <a:cs typeface="Arial" pitchFamily="34" charset="0"/>
            </a:endParaRPr>
          </a:p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El proceso es regulado  estatalmente y se apega a las especificaciones 5CT y 10 A del American Petroleum Institute</a:t>
            </a:r>
          </a:p>
          <a:p>
            <a:endParaRPr lang="es-MX" sz="1900" dirty="0" smtClean="0">
              <a:latin typeface="Arial" pitchFamily="34" charset="0"/>
              <a:cs typeface="Arial" pitchFamily="34" charset="0"/>
            </a:endParaRPr>
          </a:p>
          <a:p>
            <a:pPr lvl="1"/>
            <a:endParaRPr lang="es-MX" sz="1900" dirty="0" smtClean="0">
              <a:latin typeface="Arial" pitchFamily="34" charset="0"/>
              <a:cs typeface="Arial" pitchFamily="34" charset="0"/>
            </a:endParaRPr>
          </a:p>
          <a:p>
            <a:endParaRPr lang="es-MX" sz="1900" dirty="0" smtClean="0">
              <a:latin typeface="Arial" pitchFamily="34" charset="0"/>
              <a:cs typeface="Arial" pitchFamily="34" charset="0"/>
            </a:endParaRPr>
          </a:p>
          <a:p>
            <a:endParaRPr lang="es-MX" sz="19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94553" y="6526060"/>
            <a:ext cx="1929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>
                <a:solidFill>
                  <a:srgbClr val="FF0000"/>
                </a:solidFill>
                <a:latin typeface="Arial Narrow" pitchFamily="34" charset="0"/>
              </a:rPr>
              <a:t>CONFIDENCIAL</a:t>
            </a:r>
            <a:endParaRPr lang="es-MX" sz="12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0626" y="1310684"/>
            <a:ext cx="3721758" cy="5185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60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9170"/>
            <a:ext cx="7086600" cy="731837"/>
          </a:xfrm>
        </p:spPr>
        <p:txBody>
          <a:bodyPr>
            <a:noAutofit/>
          </a:bodyPr>
          <a:lstStyle/>
          <a:p>
            <a:pPr algn="l"/>
            <a:r>
              <a:rPr lang="es-MX" sz="2800" b="1" dirty="0" smtClean="0">
                <a:solidFill>
                  <a:srgbClr val="5780AE"/>
                </a:solidFill>
              </a:rPr>
              <a:t>Fluidos de fracturación: uso del agua </a:t>
            </a:r>
            <a:br>
              <a:rPr lang="es-MX" sz="2800" b="1" dirty="0" smtClean="0">
                <a:solidFill>
                  <a:srgbClr val="5780AE"/>
                </a:solidFill>
              </a:rPr>
            </a:br>
            <a:endParaRPr lang="es-MX" sz="2800" b="1" dirty="0">
              <a:solidFill>
                <a:srgbClr val="5780A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65896" y="1438410"/>
            <a:ext cx="4578104" cy="5087650"/>
          </a:xfrm>
        </p:spPr>
        <p:txBody>
          <a:bodyPr/>
          <a:lstStyle/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El agua actúa como el medio de fracturación y vehículo de aditivos y arenas</a:t>
            </a:r>
          </a:p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No requiere ser potable </a:t>
            </a:r>
          </a:p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La cantidad de agua por pozo llega hasta ~ 19,000 m</a:t>
            </a:r>
            <a:r>
              <a:rPr lang="es-MX" sz="1900" baseline="300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es-MX" sz="1900" dirty="0" smtClean="0">
                <a:latin typeface="Arial" pitchFamily="34" charset="0"/>
                <a:cs typeface="Arial" pitchFamily="34" charset="0"/>
              </a:rPr>
              <a:t>, solo se utiliza al perforar el pozo. Nuevas tecnologías reducen consumo</a:t>
            </a:r>
            <a:r>
              <a:rPr lang="es-MX" sz="1900" baseline="30000" dirty="0" smtClean="0">
                <a:latin typeface="Arial" pitchFamily="34" charset="0"/>
                <a:cs typeface="Arial" pitchFamily="34" charset="0"/>
              </a:rPr>
              <a:t>       </a:t>
            </a:r>
          </a:p>
          <a:p>
            <a:r>
              <a:rPr lang="es-MX" sz="19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ctualmente Alfa/</a:t>
            </a:r>
            <a:r>
              <a:rPr lang="es-MX" sz="1900" dirty="0" err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Tegra</a:t>
            </a:r>
            <a:r>
              <a:rPr lang="es-MX" sz="19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tiene solución al suministro de agua para </a:t>
            </a:r>
            <a:r>
              <a:rPr lang="es-MX" sz="1900" dirty="0" err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hale</a:t>
            </a:r>
            <a:r>
              <a:rPr lang="es-MX" sz="19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sin afectar acuíferos convencionales o fuentes superficiales</a:t>
            </a:r>
          </a:p>
          <a:p>
            <a:r>
              <a:rPr lang="es-MX" sz="1900" dirty="0" smtClean="0">
                <a:latin typeface="Arial" pitchFamily="34" charset="0"/>
                <a:cs typeface="Arial" pitchFamily="34" charset="0"/>
              </a:rPr>
              <a:t>La cantidad de agua utilizada en la industria de G&amp;C es muy inferior a la que se usa en sector eléctrico y publico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94553" y="6526060"/>
            <a:ext cx="1929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>
                <a:solidFill>
                  <a:srgbClr val="FF0000"/>
                </a:solidFill>
                <a:latin typeface="Arial Narrow" pitchFamily="34" charset="0"/>
              </a:rPr>
              <a:t>CONFIDENCIAL</a:t>
            </a:r>
            <a:endParaRPr lang="es-MX" sz="12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pic>
        <p:nvPicPr>
          <p:cNvPr id="61442" name="Picture 2" descr="http://fracfocus.org/sites/default/files/water-use-pie-char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3441" y="2014806"/>
            <a:ext cx="4292455" cy="3664291"/>
          </a:xfrm>
          <a:prstGeom prst="rect">
            <a:avLst/>
          </a:prstGeom>
          <a:noFill/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060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79170"/>
            <a:ext cx="7086600" cy="731837"/>
          </a:xfrm>
        </p:spPr>
        <p:txBody>
          <a:bodyPr>
            <a:noAutofit/>
          </a:bodyPr>
          <a:lstStyle/>
          <a:p>
            <a:pPr algn="l"/>
            <a:r>
              <a:rPr lang="es-MX" sz="2800" b="1" dirty="0" smtClean="0">
                <a:solidFill>
                  <a:srgbClr val="5780AE"/>
                </a:solidFill>
              </a:rPr>
              <a:t>Fluidos de fracturación : los aditivos  </a:t>
            </a:r>
            <a:br>
              <a:rPr lang="es-MX" sz="2800" b="1" dirty="0" smtClean="0">
                <a:solidFill>
                  <a:srgbClr val="5780AE"/>
                </a:solidFill>
              </a:rPr>
            </a:br>
            <a:endParaRPr lang="es-MX" sz="2800" b="1" dirty="0">
              <a:solidFill>
                <a:srgbClr val="5780A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94553" y="6526060"/>
            <a:ext cx="19290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>
                <a:solidFill>
                  <a:srgbClr val="FF0000"/>
                </a:solidFill>
                <a:latin typeface="Arial Narrow" pitchFamily="34" charset="0"/>
              </a:rPr>
              <a:t>CONFIDENCIAL</a:t>
            </a:r>
            <a:endParaRPr lang="es-MX" sz="12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25" y="1095851"/>
            <a:ext cx="6762750" cy="46662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 flipH="1">
            <a:off x="1416674" y="6040192"/>
            <a:ext cx="6426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Los aditivos son apenas el 0.8%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893196" y="4683760"/>
            <a:ext cx="206017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50" dirty="0" smtClean="0">
                <a:solidFill>
                  <a:schemeClr val="accent1">
                    <a:lumMod val="50000"/>
                  </a:schemeClr>
                </a:solidFill>
              </a:rPr>
              <a:t>(Goma </a:t>
            </a:r>
            <a:r>
              <a:rPr lang="es-MX" sz="1050" dirty="0" err="1" smtClean="0">
                <a:solidFill>
                  <a:schemeClr val="accent1">
                    <a:lumMod val="50000"/>
                  </a:schemeClr>
                </a:solidFill>
              </a:rPr>
              <a:t>Guar</a:t>
            </a:r>
            <a:r>
              <a:rPr lang="es-MX" sz="1050" dirty="0" smtClean="0">
                <a:solidFill>
                  <a:schemeClr val="accent1">
                    <a:lumMod val="50000"/>
                  </a:schemeClr>
                </a:solidFill>
              </a:rPr>
              <a:t>, material natural)</a:t>
            </a:r>
            <a:endParaRPr lang="es-MX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15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7319" y="214677"/>
            <a:ext cx="8229600" cy="922114"/>
          </a:xfrm>
        </p:spPr>
        <p:txBody>
          <a:bodyPr/>
          <a:lstStyle/>
          <a:p>
            <a:pPr algn="l"/>
            <a:r>
              <a:rPr lang="es-MX" sz="2400" dirty="0" smtClean="0"/>
              <a:t>En caso de Alfa, los aditivos utilizados en </a:t>
            </a:r>
            <a:r>
              <a:rPr lang="es-MX" sz="2400" dirty="0" err="1" smtClean="0"/>
              <a:t>fracking</a:t>
            </a:r>
            <a:r>
              <a:rPr lang="es-MX" sz="2400" dirty="0" smtClean="0"/>
              <a:t> son compuestos usados en la vida diaria</a:t>
            </a:r>
            <a:endParaRPr lang="es-MX" dirty="0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8506" y="997596"/>
            <a:ext cx="5021704" cy="5771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Slide Number Placeholder 1"/>
          <p:cNvSpPr txBox="1">
            <a:spLocks/>
          </p:cNvSpPr>
          <p:nvPr/>
        </p:nvSpPr>
        <p:spPr>
          <a:xfrm>
            <a:off x="6799520" y="6415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MX" dirty="0" smtClean="0"/>
              <a:t>24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699814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3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algn="l"/>
            <a:r>
              <a:rPr lang="es-MX" b="1" dirty="0">
                <a:solidFill>
                  <a:srgbClr val="5780AE"/>
                </a:solidFill>
              </a:rPr>
              <a:t>ALFA: Empresa mexicana líder</a:t>
            </a:r>
            <a:endParaRPr lang="en-US" b="1" dirty="0">
              <a:solidFill>
                <a:srgbClr val="5780AE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7060758" y="3450209"/>
            <a:ext cx="1630018" cy="468000"/>
          </a:xfrm>
          <a:prstGeom prst="rect">
            <a:avLst/>
          </a:prstGeom>
          <a:gradFill rotWithShape="1">
            <a:gsLst>
              <a:gs pos="0">
                <a:srgbClr val="33CCFF">
                  <a:shade val="51000"/>
                  <a:satMod val="130000"/>
                </a:srgbClr>
              </a:gs>
              <a:gs pos="80000">
                <a:srgbClr val="33CCFF">
                  <a:shade val="93000"/>
                  <a:satMod val="130000"/>
                </a:srgbClr>
              </a:gs>
              <a:gs pos="100000">
                <a:srgbClr val="33CCF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33CCFF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PEK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ía y Nuevas Tecnologías</a:t>
            </a:r>
            <a:endParaRPr kumimoji="0" lang="es-MX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3737114" y="3450209"/>
            <a:ext cx="1661823" cy="468000"/>
          </a:xfrm>
          <a:prstGeom prst="rect">
            <a:avLst/>
          </a:prstGeom>
          <a:gradFill rotWithShape="1">
            <a:gsLst>
              <a:gs pos="0">
                <a:srgbClr val="708D00">
                  <a:shade val="51000"/>
                  <a:satMod val="130000"/>
                </a:srgbClr>
              </a:gs>
              <a:gs pos="80000">
                <a:srgbClr val="708D00">
                  <a:shade val="93000"/>
                  <a:satMod val="130000"/>
                </a:srgbClr>
              </a:gs>
              <a:gs pos="100000">
                <a:srgbClr val="708D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708D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GMA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imentos Refrigerados</a:t>
            </a:r>
            <a:endParaRPr kumimoji="0" lang="es-MX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45273" y="3450209"/>
            <a:ext cx="1669774" cy="468000"/>
          </a:xfrm>
          <a:prstGeom prst="rect">
            <a:avLst/>
          </a:prstGeom>
          <a:gradFill rotWithShape="1">
            <a:gsLst>
              <a:gs pos="0">
                <a:srgbClr val="5780AE">
                  <a:shade val="51000"/>
                  <a:satMod val="130000"/>
                </a:srgbClr>
              </a:gs>
              <a:gs pos="80000">
                <a:srgbClr val="5780AE">
                  <a:shade val="93000"/>
                  <a:satMod val="130000"/>
                </a:srgbClr>
              </a:gs>
              <a:gs pos="100000">
                <a:srgbClr val="5780A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5780A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PEK 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troquímica</a:t>
            </a:r>
            <a:endParaRPr kumimoji="0" lang="es-MX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104007" y="3450209"/>
            <a:ext cx="1629367" cy="468000"/>
          </a:xfrm>
          <a:prstGeom prst="rect">
            <a:avLst/>
          </a:prstGeom>
          <a:gradFill rotWithShape="1">
            <a:gsLst>
              <a:gs pos="0">
                <a:srgbClr val="F1AB00">
                  <a:shade val="51000"/>
                  <a:satMod val="130000"/>
                </a:srgbClr>
              </a:gs>
              <a:gs pos="80000">
                <a:srgbClr val="F1AB00">
                  <a:shade val="93000"/>
                  <a:satMod val="130000"/>
                </a:srgbClr>
              </a:gs>
              <a:gs pos="100000">
                <a:srgbClr val="F1AB00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1AB00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MAK 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topartes </a:t>
            </a:r>
            <a:r>
              <a:rPr kumimoji="0" lang="es-MX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 </a:t>
            </a:r>
            <a:r>
              <a:rPr kumimoji="0" lang="es-MX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uminio</a:t>
            </a:r>
            <a:endParaRPr kumimoji="0" lang="es-MX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5397622" y="3450209"/>
            <a:ext cx="1655185" cy="468000"/>
          </a:xfrm>
          <a:prstGeom prst="rect">
            <a:avLst/>
          </a:prstGeom>
          <a:gradFill rotWithShape="1">
            <a:gsLst>
              <a:gs pos="0">
                <a:srgbClr val="CD300E">
                  <a:shade val="51000"/>
                  <a:satMod val="130000"/>
                </a:srgbClr>
              </a:gs>
              <a:gs pos="80000">
                <a:srgbClr val="CD300E">
                  <a:shade val="93000"/>
                  <a:satMod val="130000"/>
                </a:srgbClr>
              </a:gs>
              <a:gs pos="100000">
                <a:srgbClr val="CD300E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D300E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ESTRA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lecom + TI</a:t>
            </a:r>
            <a:endParaRPr kumimoji="0" lang="es-MX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5" name="Picture 74" descr="5grupos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5272" y="1611023"/>
            <a:ext cx="8303191" cy="1889906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784540" y="4241899"/>
            <a:ext cx="8247700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MX" sz="2000" dirty="0" smtClean="0"/>
              <a:t>Ingresos 2014 </a:t>
            </a:r>
            <a:r>
              <a:rPr lang="es-MX" sz="2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.S. +$</a:t>
            </a:r>
            <a:r>
              <a:rPr lang="es-MX" sz="2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,000 Millone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MX" sz="2000" dirty="0"/>
              <a:t>Raíces se remontan a Siglo XIX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MX" sz="2000" dirty="0"/>
              <a:t>Una de las 10 empresas más importantes en México</a:t>
            </a:r>
          </a:p>
          <a:p>
            <a:pPr marL="342900" indent="-342900" algn="l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MX" sz="2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100 </a:t>
            </a:r>
            <a:r>
              <a:rPr lang="es-MX" sz="2000" dirty="0"/>
              <a:t>plantas productivas en </a:t>
            </a:r>
            <a:r>
              <a:rPr lang="es-MX" sz="2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 </a:t>
            </a:r>
            <a:r>
              <a:rPr lang="es-MX" sz="2000" dirty="0"/>
              <a:t>países 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s-MX" sz="2000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~70,000  </a:t>
            </a:r>
            <a:r>
              <a:rPr lang="es-MX" sz="2000" dirty="0"/>
              <a:t>colaboradores</a:t>
            </a:r>
          </a:p>
          <a:p>
            <a:pPr marL="342900" indent="-342900" algn="l">
              <a:buFont typeface="Arial" panose="020B0604020202020204" pitchFamily="34" charset="0"/>
              <a:buChar char="•"/>
              <a:defRPr/>
            </a:pPr>
            <a:r>
              <a:rPr lang="es-MX" sz="20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5 millones </a:t>
            </a:r>
            <a:r>
              <a:rPr lang="es-MX" sz="2000" dirty="0"/>
              <a:t>dependient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9936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¿Fracturación causa sismos?</a:t>
            </a:r>
            <a:endParaRPr lang="es-MX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40945" y="5875595"/>
            <a:ext cx="8291264" cy="593445"/>
          </a:xfrm>
        </p:spPr>
        <p:txBody>
          <a:bodyPr/>
          <a:lstStyle/>
          <a:p>
            <a:r>
              <a:rPr lang="es-MX" sz="2000" dirty="0" smtClean="0"/>
              <a:t>La fracturación se acompaña de microsismos de 10</a:t>
            </a:r>
            <a:r>
              <a:rPr lang="es-MX" sz="2000" baseline="30000" dirty="0" smtClean="0"/>
              <a:t>4</a:t>
            </a:r>
            <a:r>
              <a:rPr lang="es-MX" sz="2000" dirty="0" smtClean="0"/>
              <a:t> a 10</a:t>
            </a:r>
            <a:r>
              <a:rPr lang="es-MX" sz="2000" baseline="30000" dirty="0" smtClean="0"/>
              <a:t>6</a:t>
            </a:r>
            <a:r>
              <a:rPr lang="es-MX" sz="2000" dirty="0" smtClean="0"/>
              <a:t> veces mas pequeños que un sismo grado 3</a:t>
            </a:r>
          </a:p>
          <a:p>
            <a:pPr>
              <a:buNone/>
            </a:pPr>
            <a:endParaRPr lang="es-MX" sz="1600" dirty="0"/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01003" y="958352"/>
            <a:ext cx="6428096" cy="4717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799520" y="6415360"/>
            <a:ext cx="2133600" cy="365125"/>
          </a:xfrm>
        </p:spPr>
        <p:txBody>
          <a:bodyPr vert="horz" lIns="91440" tIns="45720" rIns="91440" bIns="45720" rtlCol="0" anchor="ctr"/>
          <a:lstStyle/>
          <a:p>
            <a:fld id="{793C0D95-9F8C-4642-8674-4A4C3D9E636D}" type="slidenum">
              <a:rPr lang="es-MX" sz="1800">
                <a:solidFill>
                  <a:schemeClr val="tx1"/>
                </a:solidFill>
              </a:rPr>
              <a:pPr/>
              <a:t>20</a:t>
            </a:fld>
            <a:endParaRPr lang="es-MX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2906" y="332656"/>
            <a:ext cx="7701822" cy="648072"/>
          </a:xfrm>
        </p:spPr>
        <p:txBody>
          <a:bodyPr/>
          <a:lstStyle/>
          <a:p>
            <a:r>
              <a:rPr lang="es-MX" dirty="0" smtClean="0"/>
              <a:t>Emisiones GEI de </a:t>
            </a:r>
            <a:r>
              <a:rPr lang="es-MX" dirty="0" err="1" smtClean="0"/>
              <a:t>shales</a:t>
            </a:r>
            <a:r>
              <a:rPr lang="es-MX" dirty="0" smtClean="0"/>
              <a:t> están en el mismo nivel que el gas natural convencional </a:t>
            </a:r>
            <a:endParaRPr lang="es-MX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264" y="1728784"/>
            <a:ext cx="6696837" cy="4216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34517" y="6226659"/>
            <a:ext cx="7914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dirty="0" smtClean="0"/>
              <a:t>Fuente: NETL 2014: </a:t>
            </a:r>
            <a:r>
              <a:rPr lang="es-MX" dirty="0" err="1" smtClean="0"/>
              <a:t>Environmental</a:t>
            </a:r>
            <a:r>
              <a:rPr lang="es-MX" dirty="0" smtClean="0"/>
              <a:t> </a:t>
            </a:r>
            <a:r>
              <a:rPr lang="es-MX" dirty="0" err="1" smtClean="0"/>
              <a:t>impacts</a:t>
            </a:r>
            <a:r>
              <a:rPr lang="es-MX" dirty="0" smtClean="0"/>
              <a:t> of </a:t>
            </a:r>
            <a:r>
              <a:rPr lang="es-MX" dirty="0" err="1" smtClean="0"/>
              <a:t>unconventional</a:t>
            </a:r>
            <a:r>
              <a:rPr lang="es-MX" dirty="0" smtClean="0"/>
              <a:t> natural gas </a:t>
            </a:r>
            <a:r>
              <a:rPr lang="es-MX" dirty="0" err="1" smtClean="0"/>
              <a:t>development</a:t>
            </a:r>
            <a:r>
              <a:rPr lang="es-MX" dirty="0" smtClean="0"/>
              <a:t> and </a:t>
            </a:r>
            <a:r>
              <a:rPr lang="es-MX" dirty="0" err="1" smtClean="0"/>
              <a:t>production</a:t>
            </a:r>
            <a:endParaRPr lang="es-MX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809680" y="6367261"/>
            <a:ext cx="2133600" cy="365125"/>
          </a:xfrm>
        </p:spPr>
        <p:txBody>
          <a:bodyPr vert="horz" lIns="91440" tIns="45720" rIns="91440" bIns="45720" rtlCol="0" anchor="ctr"/>
          <a:lstStyle/>
          <a:p>
            <a:fld id="{793C0D95-9F8C-4642-8674-4A4C3D9E636D}" type="slidenum">
              <a:rPr lang="es-MX" sz="1800">
                <a:solidFill>
                  <a:schemeClr val="tx1"/>
                </a:solidFill>
              </a:rPr>
              <a:pPr/>
              <a:t>21</a:t>
            </a:fld>
            <a:endParaRPr lang="es-MX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23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2905" y="332656"/>
            <a:ext cx="7514557" cy="648072"/>
          </a:xfrm>
        </p:spPr>
        <p:txBody>
          <a:bodyPr/>
          <a:lstStyle/>
          <a:p>
            <a:r>
              <a:rPr lang="es-MX" dirty="0" smtClean="0"/>
              <a:t>Guía de buenas practicas en industria de shale </a:t>
            </a:r>
            <a:endParaRPr lang="es-MX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95536" y="941696"/>
            <a:ext cx="8291264" cy="5075285"/>
          </a:xfrm>
        </p:spPr>
        <p:txBody>
          <a:bodyPr/>
          <a:lstStyle/>
          <a:p>
            <a:r>
              <a:rPr lang="es-MX" sz="2000" dirty="0" smtClean="0"/>
              <a:t>API ha preparado 5 manuales de buenas practicas relativos a la industria de fracturación </a:t>
            </a:r>
          </a:p>
          <a:p>
            <a:pPr lvl="1"/>
            <a:endParaRPr lang="es-MX" sz="2000" dirty="0" smtClean="0"/>
          </a:p>
          <a:p>
            <a:pPr lvl="1"/>
            <a:r>
              <a:rPr lang="es-MX" sz="2000" dirty="0" smtClean="0"/>
              <a:t>HF1  </a:t>
            </a:r>
          </a:p>
          <a:p>
            <a:pPr lvl="2"/>
            <a:r>
              <a:rPr lang="es-MX" sz="1900" dirty="0">
                <a:latin typeface="Arial" pitchFamily="34" charset="0"/>
                <a:cs typeface="Arial" pitchFamily="34" charset="0"/>
              </a:rPr>
              <a:t>Hydraulic fracturing operations, well construction and integrity guidelines (2009)</a:t>
            </a:r>
          </a:p>
          <a:p>
            <a:pPr lvl="2"/>
            <a:r>
              <a:rPr lang="es-MX" sz="19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cluye acciones para protección de acuíferos</a:t>
            </a:r>
          </a:p>
          <a:p>
            <a:pPr lvl="1"/>
            <a:r>
              <a:rPr lang="es-MX" sz="2000" dirty="0" smtClean="0"/>
              <a:t>HF2</a:t>
            </a:r>
          </a:p>
          <a:p>
            <a:pPr lvl="2"/>
            <a:r>
              <a:rPr lang="es-MX" sz="1900" dirty="0">
                <a:latin typeface="Arial" pitchFamily="34" charset="0"/>
                <a:cs typeface="Arial" pitchFamily="34" charset="0"/>
              </a:rPr>
              <a:t>Water management associated with hydraulic fracturing (2010)</a:t>
            </a:r>
          </a:p>
          <a:p>
            <a:pPr lvl="2"/>
            <a:r>
              <a:rPr lang="es-MX" sz="19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Objetivo de minimizar impacto social y ambiental asociado a manejo de agua y fluidos de fracturación</a:t>
            </a:r>
          </a:p>
          <a:p>
            <a:pPr lvl="1"/>
            <a:r>
              <a:rPr lang="es-MX" sz="2000" dirty="0" smtClean="0"/>
              <a:t>HF3</a:t>
            </a:r>
            <a:r>
              <a:rPr lang="es-MX" dirty="0" smtClean="0"/>
              <a:t>  </a:t>
            </a:r>
          </a:p>
          <a:p>
            <a:pPr lvl="2"/>
            <a:r>
              <a:rPr lang="es-MX" sz="1900" dirty="0">
                <a:latin typeface="Arial" pitchFamily="34" charset="0"/>
                <a:cs typeface="Arial" pitchFamily="34" charset="0"/>
              </a:rPr>
              <a:t>Practices for mitigating surface impacts associated with hydraulic fracturing  (2011)</a:t>
            </a:r>
          </a:p>
          <a:p>
            <a:pPr lvl="2"/>
            <a:r>
              <a:rPr lang="es-MX" sz="19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Protección de agua superficial, suelo, vida silvestre, ecosistemas y comunidades</a:t>
            </a:r>
          </a:p>
          <a:p>
            <a:pPr lvl="2"/>
            <a:endParaRPr lang="es-MX" sz="1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780662" y="6443458"/>
            <a:ext cx="2133600" cy="365125"/>
          </a:xfrm>
        </p:spPr>
        <p:txBody>
          <a:bodyPr vert="horz" lIns="91440" tIns="45720" rIns="91440" bIns="45720" rtlCol="0" anchor="ctr"/>
          <a:lstStyle/>
          <a:p>
            <a:fld id="{793C0D95-9F8C-4642-8674-4A4C3D9E636D}" type="slidenum">
              <a:rPr lang="es-MX" sz="1800">
                <a:solidFill>
                  <a:schemeClr val="tx1"/>
                </a:solidFill>
              </a:rPr>
              <a:pPr/>
              <a:t>22</a:t>
            </a:fld>
            <a:endParaRPr lang="es-MX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2905" y="332656"/>
            <a:ext cx="7514557" cy="648072"/>
          </a:xfrm>
        </p:spPr>
        <p:txBody>
          <a:bodyPr/>
          <a:lstStyle/>
          <a:p>
            <a:r>
              <a:rPr lang="es-MX" dirty="0" smtClean="0"/>
              <a:t>Guía de buenas practicas en industria de shale </a:t>
            </a:r>
            <a:endParaRPr lang="es-MX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95536" y="1050878"/>
            <a:ext cx="8291264" cy="5075285"/>
          </a:xfrm>
        </p:spPr>
        <p:txBody>
          <a:bodyPr/>
          <a:lstStyle/>
          <a:p>
            <a:pPr lvl="1"/>
            <a:r>
              <a:rPr lang="es-MX" sz="2000" dirty="0" smtClean="0"/>
              <a:t>Std 65 part 2</a:t>
            </a:r>
          </a:p>
          <a:p>
            <a:pPr lvl="2"/>
            <a:r>
              <a:rPr lang="es-MX" sz="1900" dirty="0" smtClean="0">
                <a:latin typeface="Arial" pitchFamily="34" charset="0"/>
                <a:cs typeface="Arial" pitchFamily="34" charset="0"/>
              </a:rPr>
              <a:t>Isolating potential flow zones during well construction  (2010)</a:t>
            </a:r>
          </a:p>
          <a:p>
            <a:pPr lvl="2"/>
            <a:r>
              <a:rPr lang="es-MX" sz="19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Asegura que el pozo sea diseñado y construido para la contención del hidrocarburo y aislamiento de los acuíferos mediante el </a:t>
            </a:r>
            <a:r>
              <a:rPr lang="es-MX" sz="1900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casing</a:t>
            </a:r>
            <a:r>
              <a:rPr lang="es-MX" sz="19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lvl="2"/>
            <a:r>
              <a:rPr lang="es-MX" sz="19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Información sobre practicas de cementado</a:t>
            </a:r>
          </a:p>
          <a:p>
            <a:pPr lvl="1"/>
            <a:endParaRPr lang="es-MX" sz="2000" dirty="0" smtClean="0"/>
          </a:p>
          <a:p>
            <a:pPr lvl="1"/>
            <a:r>
              <a:rPr lang="es-MX" sz="2000" dirty="0" smtClean="0"/>
              <a:t>RP 51R</a:t>
            </a:r>
          </a:p>
          <a:p>
            <a:pPr lvl="2"/>
            <a:r>
              <a:rPr lang="es-MX" sz="1900" dirty="0">
                <a:latin typeface="Arial" pitchFamily="34" charset="0"/>
                <a:cs typeface="Arial" pitchFamily="34" charset="0"/>
              </a:rPr>
              <a:t>Environmental protection for onshore oil and gas production operations and leases (2009)</a:t>
            </a:r>
          </a:p>
          <a:p>
            <a:pPr lvl="2"/>
            <a:r>
              <a:rPr lang="es-MX" sz="1900" dirty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iseño, construcción de caminos de acceso, zonas de perforación, operación de producción, fracturación entre otras</a:t>
            </a:r>
            <a:r>
              <a:rPr lang="es-MX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6697920" y="6382751"/>
            <a:ext cx="2133600" cy="365125"/>
          </a:xfrm>
        </p:spPr>
        <p:txBody>
          <a:bodyPr/>
          <a:lstStyle/>
          <a:p>
            <a:fld id="{793C0D95-9F8C-4642-8674-4A4C3D9E636D}" type="slidenum">
              <a:rPr lang="es-MX" sz="1800">
                <a:solidFill>
                  <a:schemeClr val="tx1"/>
                </a:solidFill>
              </a:rPr>
              <a:pPr/>
              <a:t>23</a:t>
            </a:fld>
            <a:endParaRPr lang="es-MX" sz="1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2" name="Picture 4" descr="http://www.oilandgasphotographers.com/data/photos/946_1StMa_8383.jpg"/>
          <p:cNvPicPr>
            <a:picLocks noChangeAspect="1" noChangeArrowheads="1"/>
          </p:cNvPicPr>
          <p:nvPr/>
        </p:nvPicPr>
        <p:blipFill rotWithShape="1">
          <a:blip r:embed="rId2" cstate="print"/>
          <a:srcRect b="8335"/>
          <a:stretch/>
        </p:blipFill>
        <p:spPr bwMode="auto">
          <a:xfrm>
            <a:off x="2395986" y="1632043"/>
            <a:ext cx="4062334" cy="4906869"/>
          </a:xfrm>
          <a:prstGeom prst="rect">
            <a:avLst/>
          </a:prstGeom>
          <a:noFill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780662" y="6356350"/>
            <a:ext cx="2133600" cy="365125"/>
          </a:xfrm>
        </p:spPr>
        <p:txBody>
          <a:bodyPr/>
          <a:lstStyle/>
          <a:p>
            <a:pPr algn="r"/>
            <a:fld id="{9FAC2C48-5A8F-4E18-BC53-C28E8DB0C5CF}" type="slidenum">
              <a:rPr lang="es-MX" smtClean="0"/>
              <a:pPr algn="r"/>
              <a:t>24</a:t>
            </a:fld>
            <a:endParaRPr lang="es-MX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419353" y="0"/>
            <a:ext cx="7514557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ct val="0"/>
              </a:spcBef>
              <a:buNone/>
              <a:defRPr sz="2800" b="1">
                <a:solidFill>
                  <a:srgbClr val="5780AE"/>
                </a:solidFill>
                <a:effectLst/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s-MX" dirty="0">
                <a:solidFill>
                  <a:schemeClr val="accent1">
                    <a:lumMod val="75000"/>
                  </a:schemeClr>
                </a:solidFill>
              </a:rPr>
              <a:t>Las actividades agrícolas, ganaderas y cinegéticas coexisten con el desarrollo de </a:t>
            </a:r>
            <a:r>
              <a:rPr lang="es-MX" dirty="0" err="1">
                <a:solidFill>
                  <a:schemeClr val="accent1">
                    <a:lumMod val="75000"/>
                  </a:schemeClr>
                </a:solidFill>
              </a:rPr>
              <a:t>shales</a:t>
            </a:r>
            <a:r>
              <a:rPr lang="es-MX" dirty="0">
                <a:solidFill>
                  <a:schemeClr val="accent1">
                    <a:lumMod val="75000"/>
                  </a:schemeClr>
                </a:solidFill>
              </a:rPr>
              <a:t> y en armonía con el medio ambiente</a:t>
            </a:r>
          </a:p>
        </p:txBody>
      </p:sp>
    </p:spTree>
    <p:extLst>
      <p:ext uri="{BB962C8B-B14F-4D97-AF65-F5344CB8AC3E}">
        <p14:creationId xmlns:p14="http://schemas.microsoft.com/office/powerpoint/2010/main" val="370770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://stateimpact.npr.org/pennsylvania/files/2011/12/bradford-county-24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1632" y="1411291"/>
            <a:ext cx="7262278" cy="5446709"/>
          </a:xfrm>
          <a:prstGeom prst="rect">
            <a:avLst/>
          </a:prstGeom>
          <a:noFill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9FAC2C48-5A8F-4E18-BC53-C28E8DB0C5CF}" type="slidenum">
              <a:rPr lang="es-MX" smtClean="0"/>
              <a:pPr algn="r"/>
              <a:t>25</a:t>
            </a:fld>
            <a:endParaRPr lang="es-MX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419353" y="0"/>
            <a:ext cx="7514557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ct val="0"/>
              </a:spcBef>
              <a:buNone/>
              <a:defRPr sz="2800" b="1">
                <a:solidFill>
                  <a:srgbClr val="5780AE"/>
                </a:solidFill>
                <a:effectLst/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s-MX" dirty="0">
                <a:solidFill>
                  <a:schemeClr val="accent1">
                    <a:lumMod val="75000"/>
                  </a:schemeClr>
                </a:solidFill>
              </a:rPr>
              <a:t>Las actividades agrícolas, ganaderas y cinegéticas coexisten con el desarrollo de </a:t>
            </a:r>
            <a:r>
              <a:rPr lang="es-MX" dirty="0" err="1">
                <a:solidFill>
                  <a:schemeClr val="accent1">
                    <a:lumMod val="75000"/>
                  </a:schemeClr>
                </a:solidFill>
              </a:rPr>
              <a:t>shales</a:t>
            </a:r>
            <a:r>
              <a:rPr lang="es-MX" dirty="0">
                <a:solidFill>
                  <a:schemeClr val="accent1">
                    <a:lumMod val="75000"/>
                  </a:schemeClr>
                </a:solidFill>
              </a:rPr>
              <a:t> y en armonía con el medio ambiente</a:t>
            </a:r>
          </a:p>
        </p:txBody>
      </p:sp>
    </p:spTree>
    <p:extLst>
      <p:ext uri="{BB962C8B-B14F-4D97-AF65-F5344CB8AC3E}">
        <p14:creationId xmlns:p14="http://schemas.microsoft.com/office/powerpoint/2010/main" val="2403944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http://2.bp.blogspot.com/_aGxou7tA4Uk/TH7ChgDrc1I/AAAAAAAACO0/dllgO-vFJ0A/s1600/PayetteOilRig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2529" y="1518838"/>
            <a:ext cx="8004271" cy="5339162"/>
          </a:xfrm>
          <a:prstGeom prst="rect">
            <a:avLst/>
          </a:prstGeom>
          <a:noFill/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9FAC2C48-5A8F-4E18-BC53-C28E8DB0C5CF}" type="slidenum">
              <a:rPr lang="es-MX" smtClean="0"/>
              <a:pPr algn="r"/>
              <a:t>26</a:t>
            </a:fld>
            <a:endParaRPr lang="es-MX" dirty="0"/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419353" y="0"/>
            <a:ext cx="7514557" cy="648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ct val="0"/>
              </a:spcBef>
              <a:buNone/>
              <a:defRPr sz="2800" b="1">
                <a:solidFill>
                  <a:srgbClr val="5780AE"/>
                </a:solidFill>
                <a:effectLst/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s-MX" dirty="0">
                <a:solidFill>
                  <a:schemeClr val="accent1">
                    <a:lumMod val="75000"/>
                  </a:schemeClr>
                </a:solidFill>
              </a:rPr>
              <a:t>Las actividades agrícolas, ganaderas y cinegéticas coexisten con el desarrollo de </a:t>
            </a:r>
            <a:r>
              <a:rPr lang="es-MX" dirty="0" err="1">
                <a:solidFill>
                  <a:schemeClr val="accent1">
                    <a:lumMod val="75000"/>
                  </a:schemeClr>
                </a:solidFill>
              </a:rPr>
              <a:t>shales</a:t>
            </a:r>
            <a:r>
              <a:rPr lang="es-MX" dirty="0">
                <a:solidFill>
                  <a:schemeClr val="accent1">
                    <a:lumMod val="75000"/>
                  </a:schemeClr>
                </a:solidFill>
              </a:rPr>
              <a:t> y en armonía con el medio ambiente</a:t>
            </a:r>
          </a:p>
        </p:txBody>
      </p:sp>
    </p:spTree>
    <p:extLst>
      <p:ext uri="{BB962C8B-B14F-4D97-AF65-F5344CB8AC3E}">
        <p14:creationId xmlns:p14="http://schemas.microsoft.com/office/powerpoint/2010/main" val="3105284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sz="2000" dirty="0" smtClean="0"/>
              <a:t>Cumplir con las mejores prácticas de la industria</a:t>
            </a:r>
          </a:p>
          <a:p>
            <a:r>
              <a:rPr lang="es-MX" sz="2000" dirty="0" smtClean="0"/>
              <a:t>La seguridad, la salud y la protección del ambiente es una obligación</a:t>
            </a:r>
          </a:p>
          <a:p>
            <a:r>
              <a:rPr lang="es-MX" sz="2000" dirty="0" smtClean="0"/>
              <a:t>Mejora continua e innovación para incrementar la producción/reservas y generar valor</a:t>
            </a:r>
          </a:p>
          <a:p>
            <a:r>
              <a:rPr lang="es-MX" sz="2000" dirty="0" smtClean="0"/>
              <a:t>Promover en las regiones donde se participe un desarrollo sustentable desde el punto de vista económico, social y ambiental</a:t>
            </a:r>
          </a:p>
          <a:p>
            <a:r>
              <a:rPr lang="es-MX" sz="2000" dirty="0" smtClean="0"/>
              <a:t>Integrar a la comunidad y ser parte de la comunidad</a:t>
            </a:r>
          </a:p>
          <a:p>
            <a:r>
              <a:rPr lang="es-MX" sz="2000" dirty="0" smtClean="0"/>
              <a:t>Crear una prosperidad integral en las regiones donde se participa</a:t>
            </a:r>
          </a:p>
          <a:p>
            <a:r>
              <a:rPr lang="es-MX" sz="2000" dirty="0" smtClean="0"/>
              <a:t>Desarrollo de proveedores competitivos y capital intelectual loca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2906" y="332656"/>
            <a:ext cx="7491252" cy="648072"/>
          </a:xfrm>
        </p:spPr>
        <p:txBody>
          <a:bodyPr/>
          <a:lstStyle/>
          <a:p>
            <a:r>
              <a:rPr lang="es-MX" dirty="0" smtClean="0"/>
              <a:t>Factores clave para la industria en el sector 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757358" y="6375648"/>
            <a:ext cx="2133600" cy="365125"/>
          </a:xfrm>
        </p:spPr>
        <p:txBody>
          <a:bodyPr/>
          <a:lstStyle/>
          <a:p>
            <a:fld id="{793C0D95-9F8C-4642-8674-4A4C3D9E636D}" type="slidenum">
              <a:rPr lang="es-MX" sz="1800">
                <a:solidFill>
                  <a:schemeClr val="tx1"/>
                </a:solidFill>
              </a:rPr>
              <a:pPr/>
              <a:t>27</a:t>
            </a:fld>
            <a:endParaRPr lang="es-MX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586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45706" y="2923456"/>
            <a:ext cx="6048672" cy="648072"/>
          </a:xfrm>
        </p:spPr>
        <p:txBody>
          <a:bodyPr/>
          <a:lstStyle/>
          <a:p>
            <a:r>
              <a:rPr lang="es-MX" dirty="0" smtClean="0"/>
              <a:t>Otras innovaciones de ALFA y proyectos para el desarrollo sustentable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93C0D95-9F8C-4642-8674-4A4C3D9E636D}" type="slidenum">
              <a:rPr lang="es-MX" smtClean="0"/>
              <a:pPr/>
              <a:t>28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038222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1520" y="260648"/>
            <a:ext cx="7086600" cy="731837"/>
          </a:xfrm>
        </p:spPr>
        <p:txBody>
          <a:bodyPr>
            <a:noAutofit/>
          </a:bodyPr>
          <a:lstStyle/>
          <a:p>
            <a:pPr algn="l"/>
            <a:r>
              <a:rPr lang="es-MX" sz="2800" b="1" dirty="0" smtClean="0">
                <a:solidFill>
                  <a:srgbClr val="5780AE"/>
                </a:solidFill>
                <a:latin typeface="Arial Narrow" pitchFamily="34" charset="0"/>
              </a:rPr>
              <a:t>Innovación continua en ALFA </a:t>
            </a:r>
            <a:r>
              <a:rPr lang="es-MX" sz="2800" b="1" dirty="0">
                <a:solidFill>
                  <a:srgbClr val="5780AE"/>
                </a:solidFill>
                <a:latin typeface="Arial Narrow" pitchFamily="34" charset="0"/>
              </a:rPr>
              <a:t>para </a:t>
            </a:r>
            <a:r>
              <a:rPr lang="es-MX" sz="2800" b="1" dirty="0" smtClean="0">
                <a:solidFill>
                  <a:srgbClr val="5780AE"/>
                </a:solidFill>
                <a:latin typeface="Arial Narrow" pitchFamily="34" charset="0"/>
              </a:rPr>
              <a:t>impulsar el </a:t>
            </a:r>
            <a:r>
              <a:rPr lang="es-MX" sz="2800" b="1" dirty="0">
                <a:solidFill>
                  <a:srgbClr val="5780AE"/>
                </a:solidFill>
                <a:latin typeface="Arial Narrow" pitchFamily="34" charset="0"/>
              </a:rPr>
              <a:t>desarrollo </a:t>
            </a:r>
            <a:r>
              <a:rPr lang="es-MX" sz="2800" b="1" dirty="0" smtClean="0">
                <a:solidFill>
                  <a:srgbClr val="5780AE"/>
                </a:solidFill>
                <a:latin typeface="Arial Narrow" pitchFamily="34" charset="0"/>
              </a:rPr>
              <a:t>sustentable</a:t>
            </a:r>
            <a:endParaRPr lang="en-US" sz="2800" b="1" dirty="0">
              <a:solidFill>
                <a:srgbClr val="5780AE"/>
              </a:solidFill>
              <a:latin typeface="Arial Narrow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8031"/>
          <a:stretch/>
        </p:blipFill>
        <p:spPr bwMode="auto">
          <a:xfrm>
            <a:off x="3611582" y="1328795"/>
            <a:ext cx="2040538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1095461" y="1627875"/>
            <a:ext cx="989373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Biomasa</a:t>
            </a:r>
          </a:p>
          <a:p>
            <a:pPr algn="ctr">
              <a:spcAft>
                <a:spcPts val="600"/>
              </a:spcAft>
            </a:pP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Residuo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94659" y="3275424"/>
            <a:ext cx="990976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Luz Solar</a:t>
            </a:r>
          </a:p>
          <a:p>
            <a:pPr algn="ctr">
              <a:spcAft>
                <a:spcPts val="600"/>
              </a:spcAft>
            </a:pP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Aire</a:t>
            </a:r>
          </a:p>
        </p:txBody>
      </p:sp>
      <p:sp>
        <p:nvSpPr>
          <p:cNvPr id="16" name="Right Arrow 15"/>
          <p:cNvSpPr/>
          <p:nvPr/>
        </p:nvSpPr>
        <p:spPr>
          <a:xfrm>
            <a:off x="2699792" y="1543931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7" name="Right Arrow 16"/>
          <p:cNvSpPr/>
          <p:nvPr/>
        </p:nvSpPr>
        <p:spPr>
          <a:xfrm>
            <a:off x="2699792" y="3131408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9" name="Right Arrow 18"/>
          <p:cNvSpPr/>
          <p:nvPr/>
        </p:nvSpPr>
        <p:spPr>
          <a:xfrm>
            <a:off x="6156938" y="1533771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0" name="Right Arrow 19"/>
          <p:cNvSpPr/>
          <p:nvPr/>
        </p:nvSpPr>
        <p:spPr>
          <a:xfrm>
            <a:off x="6156938" y="3131408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3" name="TextBox 22"/>
          <p:cNvSpPr txBox="1"/>
          <p:nvPr/>
        </p:nvSpPr>
        <p:spPr>
          <a:xfrm>
            <a:off x="6788132" y="1494019"/>
            <a:ext cx="1715534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s-MX" sz="1400" b="1" dirty="0" err="1" smtClean="0">
                <a:latin typeface="Arial" pitchFamily="34" charset="0"/>
                <a:cs typeface="Arial" pitchFamily="34" charset="0"/>
              </a:rPr>
              <a:t>Bio</a:t>
            </a: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-combustibles</a:t>
            </a:r>
          </a:p>
          <a:p>
            <a:pPr>
              <a:spcAft>
                <a:spcPts val="600"/>
              </a:spcAft>
            </a:pPr>
            <a:r>
              <a:rPr lang="es-MX" sz="1400" b="1" dirty="0" err="1" smtClean="0">
                <a:latin typeface="Arial" pitchFamily="34" charset="0"/>
                <a:cs typeface="Arial" pitchFamily="34" charset="0"/>
              </a:rPr>
              <a:t>Bio</a:t>
            </a: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-compuestos</a:t>
            </a:r>
          </a:p>
          <a:p>
            <a:pPr>
              <a:spcAft>
                <a:spcPts val="600"/>
              </a:spcAft>
            </a:pP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Reducción de GEI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788132" y="3347432"/>
            <a:ext cx="17155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err="1" smtClean="0">
                <a:latin typeface="Arial" pitchFamily="34" charset="0"/>
                <a:cs typeface="Arial" pitchFamily="34" charset="0"/>
              </a:rPr>
              <a:t>Bio</a:t>
            </a:r>
            <a:r>
              <a:rPr lang="es-MX" sz="1400" b="1" dirty="0" smtClean="0">
                <a:latin typeface="Arial" pitchFamily="34" charset="0"/>
                <a:cs typeface="Arial" pitchFamily="34" charset="0"/>
              </a:rPr>
              <a:t>-fertilizantes</a:t>
            </a:r>
          </a:p>
          <a:p>
            <a:r>
              <a:rPr lang="es-MX" sz="1400" b="1" dirty="0" smtClean="0">
                <a:latin typeface="Arial" pitchFamily="34" charset="0"/>
                <a:cs typeface="Arial" pitchFamily="34" charset="0"/>
              </a:rPr>
              <a:t>Reducción de GEI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3437039" y="1301048"/>
            <a:ext cx="2304256" cy="1325761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5" name="Rounded Rectangle 24"/>
          <p:cNvSpPr/>
          <p:nvPr/>
        </p:nvSpPr>
        <p:spPr>
          <a:xfrm>
            <a:off x="3506561" y="2771368"/>
            <a:ext cx="2304256" cy="1440160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" name="TextBox 4"/>
          <p:cNvSpPr txBox="1"/>
          <p:nvPr/>
        </p:nvSpPr>
        <p:spPr>
          <a:xfrm>
            <a:off x="3769360" y="3707472"/>
            <a:ext cx="18827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 err="1" smtClean="0">
                <a:latin typeface="Arial" pitchFamily="34" charset="0"/>
                <a:cs typeface="Arial" pitchFamily="34" charset="0"/>
              </a:rPr>
              <a:t>Bioreactor</a:t>
            </a:r>
            <a:r>
              <a:rPr lang="es-MX" sz="1200" b="1" dirty="0" smtClean="0">
                <a:latin typeface="Arial" pitchFamily="34" charset="0"/>
                <a:cs typeface="Arial" pitchFamily="34" charset="0"/>
              </a:rPr>
              <a:t> consorcio</a:t>
            </a:r>
          </a:p>
          <a:p>
            <a:pPr algn="ctr"/>
            <a:r>
              <a:rPr lang="es-MX" sz="1200" b="1" dirty="0" smtClean="0">
                <a:latin typeface="Arial" pitchFamily="34" charset="0"/>
                <a:cs typeface="Arial" pitchFamily="34" charset="0"/>
              </a:rPr>
              <a:t>microorganismos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2050" name="Picture 2" descr="http://krisdedecker.typepad.com/photos/uncategorized/2008/04/04/algae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2625" y="2915384"/>
            <a:ext cx="1224136" cy="798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3619991" y="2048875"/>
            <a:ext cx="193835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200" b="1" dirty="0" smtClean="0">
                <a:latin typeface="Arial" pitchFamily="34" charset="0"/>
                <a:cs typeface="Arial" pitchFamily="34" charset="0"/>
              </a:rPr>
              <a:t>Microorganismo</a:t>
            </a:r>
            <a:br>
              <a:rPr lang="es-MX" sz="1200" b="1" dirty="0" smtClean="0">
                <a:latin typeface="Arial" pitchFamily="34" charset="0"/>
                <a:cs typeface="Arial" pitchFamily="34" charset="0"/>
              </a:rPr>
            </a:br>
            <a:r>
              <a:rPr lang="es-MX" sz="1200" b="1" dirty="0" smtClean="0">
                <a:latin typeface="Arial" pitchFamily="34" charset="0"/>
                <a:cs typeface="Arial" pitchFamily="34" charset="0"/>
              </a:rPr>
              <a:t>Biotecnología avanzada</a:t>
            </a:r>
            <a:endParaRPr lang="es-MX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1054584" y="5380672"/>
            <a:ext cx="1071127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Gas</a:t>
            </a:r>
          </a:p>
          <a:p>
            <a:pPr algn="ctr">
              <a:spcAft>
                <a:spcPts val="600"/>
              </a:spcAft>
            </a:pPr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Hidráulica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Viento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Solar</a:t>
            </a:r>
          </a:p>
          <a:p>
            <a:pPr algn="ctr">
              <a:spcAft>
                <a:spcPts val="600"/>
              </a:spcAft>
            </a:pPr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Geotermia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788132" y="5879008"/>
            <a:ext cx="171553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Electricidad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Reducción</a:t>
            </a: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 de GEI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506561" y="5448063"/>
            <a:ext cx="2387828" cy="1504006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 err="1" smtClean="0">
                <a:solidFill>
                  <a:schemeClr val="tx1"/>
                </a:solidFill>
              </a:rPr>
              <a:t>Proyecto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selectivos</a:t>
            </a:r>
            <a:r>
              <a:rPr lang="en-US" dirty="0" smtClean="0">
                <a:solidFill>
                  <a:schemeClr val="tx1"/>
                </a:solidFill>
              </a:rPr>
              <a:t> de  </a:t>
            </a:r>
            <a:r>
              <a:rPr lang="en-US" dirty="0" err="1" smtClean="0">
                <a:solidFill>
                  <a:schemeClr val="tx1"/>
                </a:solidFill>
              </a:rPr>
              <a:t>cogeneración</a:t>
            </a:r>
            <a:r>
              <a:rPr lang="en-US" dirty="0" smtClean="0">
                <a:solidFill>
                  <a:schemeClr val="tx1"/>
                </a:solidFill>
              </a:rPr>
              <a:t> y </a:t>
            </a:r>
            <a:r>
              <a:rPr lang="en-US" dirty="0" err="1" smtClean="0">
                <a:solidFill>
                  <a:schemeClr val="tx1"/>
                </a:solidFill>
              </a:rPr>
              <a:t>renovable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competitivo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63451" y="4780713"/>
            <a:ext cx="18533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Desechos</a:t>
            </a: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plásticos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466397" y="4309952"/>
            <a:ext cx="2344419" cy="1172985"/>
          </a:xfrm>
          <a:prstGeom prst="rect">
            <a:avLst/>
          </a:prstGeom>
          <a:noFill/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 smtClean="0">
                <a:solidFill>
                  <a:schemeClr val="tx1"/>
                </a:solidFill>
              </a:rPr>
              <a:t>Mini-</a:t>
            </a:r>
            <a:r>
              <a:rPr lang="en-US" dirty="0" err="1" smtClean="0">
                <a:solidFill>
                  <a:schemeClr val="tx1"/>
                </a:solidFill>
              </a:rPr>
              <a:t>refinería</a:t>
            </a:r>
            <a:r>
              <a:rPr lang="en-US" dirty="0" smtClean="0">
                <a:solidFill>
                  <a:schemeClr val="tx1"/>
                </a:solidFill>
              </a:rPr>
              <a:t> de un </a:t>
            </a:r>
            <a:r>
              <a:rPr lang="en-US" dirty="0" err="1" smtClean="0">
                <a:solidFill>
                  <a:schemeClr val="tx1"/>
                </a:solidFill>
              </a:rPr>
              <a:t>paso</a:t>
            </a:r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err="1" smtClean="0">
                <a:solidFill>
                  <a:schemeClr val="tx1"/>
                </a:solidFill>
              </a:rPr>
              <a:t>Química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avanzada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788132" y="4411381"/>
            <a:ext cx="171553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Arial" pitchFamily="34" charset="0"/>
                <a:cs typeface="Arial" pitchFamily="34" charset="0"/>
              </a:rPr>
              <a:t>Combustibles</a:t>
            </a:r>
          </a:p>
          <a:p>
            <a:r>
              <a:rPr lang="en-US" sz="1400" b="1" dirty="0" smtClean="0">
                <a:latin typeface="Arial" pitchFamily="34" charset="0"/>
                <a:cs typeface="Arial" pitchFamily="34" charset="0"/>
              </a:rPr>
              <a:t> premium </a:t>
            </a:r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limpios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Petroquímicos</a:t>
            </a: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r>
              <a:rPr lang="en-US" sz="1400" b="1" dirty="0" err="1" smtClean="0">
                <a:latin typeface="Arial" pitchFamily="34" charset="0"/>
                <a:cs typeface="Arial" pitchFamily="34" charset="0"/>
              </a:rPr>
              <a:t>Reducción</a:t>
            </a: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 de GEI</a:t>
            </a:r>
          </a:p>
        </p:txBody>
      </p:sp>
      <p:sp>
        <p:nvSpPr>
          <p:cNvPr id="36" name="Right Arrow 35"/>
          <p:cNvSpPr/>
          <p:nvPr/>
        </p:nvSpPr>
        <p:spPr>
          <a:xfrm>
            <a:off x="2699792" y="4598787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7" name="Right Arrow 36"/>
          <p:cNvSpPr/>
          <p:nvPr/>
        </p:nvSpPr>
        <p:spPr>
          <a:xfrm>
            <a:off x="2699792" y="5901784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8" name="Right Arrow 37"/>
          <p:cNvSpPr/>
          <p:nvPr/>
        </p:nvSpPr>
        <p:spPr>
          <a:xfrm>
            <a:off x="6156938" y="4523238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9" name="Right Arrow 38"/>
          <p:cNvSpPr/>
          <p:nvPr/>
        </p:nvSpPr>
        <p:spPr>
          <a:xfrm>
            <a:off x="6156938" y="5901784"/>
            <a:ext cx="504056" cy="720080"/>
          </a:xfrm>
          <a:prstGeom prst="rightArrow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0" name="Rounded Rectangle 39"/>
          <p:cNvSpPr/>
          <p:nvPr/>
        </p:nvSpPr>
        <p:spPr>
          <a:xfrm>
            <a:off x="3512113" y="4335305"/>
            <a:ext cx="2304256" cy="1095947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1" name="Rounded Rectangle 40"/>
          <p:cNvSpPr/>
          <p:nvPr/>
        </p:nvSpPr>
        <p:spPr>
          <a:xfrm>
            <a:off x="3512113" y="5517132"/>
            <a:ext cx="2304256" cy="1340868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50268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2588" y="1417201"/>
            <a:ext cx="8443778" cy="5180239"/>
          </a:xfrm>
        </p:spPr>
        <p:txBody>
          <a:bodyPr/>
          <a:lstStyle/>
          <a:p>
            <a:pPr lvl="1">
              <a:spcAft>
                <a:spcPts val="600"/>
              </a:spcAft>
              <a:defRPr/>
            </a:pPr>
            <a:r>
              <a:rPr lang="es-MX" sz="2000" b="1" dirty="0" smtClean="0">
                <a:ea typeface="+mn-ea"/>
                <a:cs typeface="+mn-cs"/>
              </a:rPr>
              <a:t>Escasez de Agua</a:t>
            </a:r>
            <a:endParaRPr lang="es-MX" sz="2000" dirty="0" smtClean="0">
              <a:ea typeface="+mn-ea"/>
              <a:cs typeface="+mn-cs"/>
            </a:endParaRPr>
          </a:p>
          <a:p>
            <a:pPr lvl="1">
              <a:spcAft>
                <a:spcPts val="600"/>
              </a:spcAft>
              <a:defRPr/>
            </a:pPr>
            <a:r>
              <a:rPr lang="es-MX" sz="2000" b="1" dirty="0" smtClean="0"/>
              <a:t>Escasez de Alimentos - </a:t>
            </a:r>
            <a:r>
              <a:rPr lang="es-MX" sz="2000" dirty="0" smtClean="0"/>
              <a:t>Proteína para una población creciente</a:t>
            </a:r>
          </a:p>
          <a:p>
            <a:pPr lvl="1">
              <a:spcAft>
                <a:spcPts val="600"/>
              </a:spcAft>
              <a:defRPr/>
            </a:pPr>
            <a:r>
              <a:rPr lang="es-MX" sz="2000" b="1" dirty="0" smtClean="0">
                <a:ea typeface="+mn-ea"/>
                <a:cs typeface="+mn-cs"/>
              </a:rPr>
              <a:t>Seguridad</a:t>
            </a:r>
            <a:r>
              <a:rPr lang="es-MX" sz="2000" dirty="0" smtClean="0">
                <a:ea typeface="+mn-ea"/>
                <a:cs typeface="+mn-cs"/>
              </a:rPr>
              <a:t> </a:t>
            </a:r>
            <a:r>
              <a:rPr lang="es-MX" sz="2000" b="1" dirty="0" smtClean="0">
                <a:ea typeface="+mn-ea"/>
                <a:cs typeface="+mn-cs"/>
              </a:rPr>
              <a:t>y competitividad energética</a:t>
            </a:r>
            <a:endParaRPr lang="es-MX" sz="2000" dirty="0" smtClean="0">
              <a:ea typeface="+mn-ea"/>
              <a:cs typeface="+mn-cs"/>
            </a:endParaRPr>
          </a:p>
          <a:p>
            <a:pPr lvl="1">
              <a:spcAft>
                <a:spcPts val="600"/>
              </a:spcAft>
              <a:defRPr/>
            </a:pPr>
            <a:r>
              <a:rPr lang="es-MX" sz="2000" b="1" dirty="0" smtClean="0">
                <a:ea typeface="+mn-ea"/>
                <a:cs typeface="+mn-cs"/>
              </a:rPr>
              <a:t>Cambio climático</a:t>
            </a:r>
            <a:endParaRPr lang="es-MX" sz="2000" dirty="0" smtClean="0">
              <a:ea typeface="+mn-ea"/>
              <a:cs typeface="+mn-cs"/>
            </a:endParaRPr>
          </a:p>
          <a:p>
            <a:pPr lvl="1">
              <a:spcAft>
                <a:spcPts val="600"/>
              </a:spcAft>
              <a:buNone/>
              <a:defRPr/>
            </a:pPr>
            <a:endParaRPr lang="es-MX" sz="2000" dirty="0" smtClean="0">
              <a:ea typeface="+mn-ea"/>
              <a:cs typeface="+mn-cs"/>
            </a:endParaRPr>
          </a:p>
          <a:p>
            <a:pPr marL="0" indent="0">
              <a:spcAft>
                <a:spcPts val="600"/>
              </a:spcAft>
              <a:buNone/>
              <a:defRPr/>
            </a:pPr>
            <a:r>
              <a:rPr lang="es-MX" sz="2000" dirty="0" smtClean="0"/>
              <a:t>Para enfrentarlos, ALFA mantiene una continua </a:t>
            </a:r>
            <a:r>
              <a:rPr lang="es-MX" sz="2000" dirty="0"/>
              <a:t>innovación y desarrollo </a:t>
            </a:r>
            <a:r>
              <a:rPr lang="es-MX" sz="2000" dirty="0" smtClean="0"/>
              <a:t>tecnológico desde hace varios años con diversas iniciativas, entre ellas “Energía, Cambio Climático y Desarrollo Sustentable”</a:t>
            </a:r>
          </a:p>
        </p:txBody>
      </p:sp>
      <p:sp>
        <p:nvSpPr>
          <p:cNvPr id="55300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s-MX" b="1" dirty="0">
                <a:solidFill>
                  <a:srgbClr val="5780AE"/>
                </a:solidFill>
              </a:rPr>
              <a:t>ALFA visualiza cuatro grandes </a:t>
            </a:r>
            <a:r>
              <a:rPr lang="es-MX" b="1" dirty="0" smtClean="0">
                <a:solidFill>
                  <a:srgbClr val="5780AE"/>
                </a:solidFill>
              </a:rPr>
              <a:t>retos en Sustentabilidad</a:t>
            </a:r>
            <a:endParaRPr lang="es-MX" b="1" dirty="0">
              <a:solidFill>
                <a:srgbClr val="5780AE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7360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1700" y="4293120"/>
            <a:ext cx="3094657" cy="2550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11450" y="1243983"/>
            <a:ext cx="86061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Biofertilizantes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en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campos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experimentales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(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Maíz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Bróccoli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,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Lechuga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Se ha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probado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exitosamente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también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en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otros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err="1" smtClean="0">
                <a:latin typeface="Arial" pitchFamily="34" charset="0"/>
                <a:cs typeface="Arial" pitchFamily="34" charset="0"/>
              </a:rPr>
              <a:t>cultivos</a:t>
            </a:r>
            <a:endParaRPr lang="es-MX" sz="16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2" descr="C:\Users\idelapena\Documents\ALFA ENERGIA IVAN\DAVID\Biofertilizantes\2012 ACTIVIDADES\vista cultivo de maiz Nov21_2012 todos los tratamientos iguales parejo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424" y="2062689"/>
            <a:ext cx="2770646" cy="252528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109" y="2080256"/>
            <a:ext cx="3456118" cy="2581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7092168" y="4725180"/>
            <a:ext cx="2051831" cy="276999"/>
          </a:xfrm>
          <a:prstGeom prst="rect">
            <a:avLst/>
          </a:prstGeom>
          <a:solidFill>
            <a:srgbClr val="1F497D"/>
          </a:solidFill>
          <a:ln>
            <a:solidFill>
              <a:sysClr val="windowText" lastClr="0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Con </a:t>
            </a:r>
            <a:r>
              <a:rPr kumimoji="0" lang="es-MX" sz="1200" b="1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</a:rPr>
              <a:t>biofertilizantes</a:t>
            </a:r>
            <a:endParaRPr kumimoji="0" lang="es-MX" sz="12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3" name="Straight Arrow Connector 2"/>
          <p:cNvCxnSpPr/>
          <p:nvPr/>
        </p:nvCxnSpPr>
        <p:spPr>
          <a:xfrm flipV="1">
            <a:off x="7812450" y="4077090"/>
            <a:ext cx="72010" cy="64809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251520" y="260648"/>
            <a:ext cx="7086600" cy="731837"/>
          </a:xfrm>
        </p:spPr>
        <p:txBody>
          <a:bodyPr>
            <a:noAutofit/>
          </a:bodyPr>
          <a:lstStyle/>
          <a:p>
            <a:pPr algn="l"/>
            <a:r>
              <a:rPr lang="en-US" b="1" dirty="0" err="1">
                <a:solidFill>
                  <a:srgbClr val="5780AE"/>
                </a:solidFill>
              </a:rPr>
              <a:t>Innovación</a:t>
            </a:r>
            <a:r>
              <a:rPr lang="en-US" b="1" dirty="0">
                <a:solidFill>
                  <a:srgbClr val="5780AE"/>
                </a:solidFill>
              </a:rPr>
              <a:t> </a:t>
            </a:r>
            <a:r>
              <a:rPr lang="en-US" b="1" dirty="0" err="1">
                <a:solidFill>
                  <a:srgbClr val="5780AE"/>
                </a:solidFill>
              </a:rPr>
              <a:t>en</a:t>
            </a:r>
            <a:r>
              <a:rPr lang="en-US" b="1" dirty="0">
                <a:solidFill>
                  <a:srgbClr val="5780AE"/>
                </a:solidFill>
              </a:rPr>
              <a:t> ALFA continua </a:t>
            </a:r>
            <a:r>
              <a:rPr lang="en-US" b="1" dirty="0" err="1">
                <a:solidFill>
                  <a:srgbClr val="5780AE"/>
                </a:solidFill>
              </a:rPr>
              <a:t>promoviendo</a:t>
            </a:r>
            <a:r>
              <a:rPr lang="en-US" b="1" dirty="0">
                <a:solidFill>
                  <a:srgbClr val="5780AE"/>
                </a:solidFill>
              </a:rPr>
              <a:t> el </a:t>
            </a:r>
            <a:r>
              <a:rPr lang="en-US" b="1" dirty="0" err="1">
                <a:solidFill>
                  <a:srgbClr val="5780AE"/>
                </a:solidFill>
              </a:rPr>
              <a:t>desarrollo</a:t>
            </a:r>
            <a:r>
              <a:rPr lang="en-US" b="1" dirty="0">
                <a:solidFill>
                  <a:srgbClr val="5780AE"/>
                </a:solidFill>
              </a:rPr>
              <a:t> </a:t>
            </a:r>
            <a:r>
              <a:rPr lang="en-US" b="1" dirty="0" err="1">
                <a:solidFill>
                  <a:srgbClr val="5780AE"/>
                </a:solidFill>
              </a:rPr>
              <a:t>sustentable</a:t>
            </a:r>
            <a:endParaRPr lang="en-US" b="1" dirty="0">
              <a:solidFill>
                <a:srgbClr val="5780AE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580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84746" y="2405296"/>
            <a:ext cx="7706134" cy="648072"/>
          </a:xfrm>
        </p:spPr>
        <p:txBody>
          <a:bodyPr/>
          <a:lstStyle/>
          <a:p>
            <a:r>
              <a:rPr lang="es-MX" dirty="0" smtClean="0"/>
              <a:t>Nuevas tecnologías para desarrollo de reservas no convencionales de </a:t>
            </a:r>
            <a:r>
              <a:rPr lang="es-MX" dirty="0"/>
              <a:t>a</a:t>
            </a:r>
            <a:r>
              <a:rPr lang="es-MX" dirty="0" smtClean="0"/>
              <a:t>gua subterránea renovable para:</a:t>
            </a:r>
            <a:br>
              <a:rPr lang="es-MX" dirty="0" smtClean="0"/>
            </a:br>
            <a:r>
              <a:rPr lang="es-MX" dirty="0" smtClean="0"/>
              <a:t/>
            </a:r>
            <a:br>
              <a:rPr lang="es-MX" dirty="0" smtClean="0"/>
            </a:br>
            <a:r>
              <a:rPr lang="es-MX" dirty="0" smtClean="0"/>
              <a:t>- Consumo Humano</a:t>
            </a:r>
            <a:br>
              <a:rPr lang="es-MX" dirty="0" smtClean="0"/>
            </a:br>
            <a:r>
              <a:rPr lang="es-MX" dirty="0" smtClean="0"/>
              <a:t>- Agricultura</a:t>
            </a:r>
            <a:br>
              <a:rPr lang="es-MX" dirty="0" smtClean="0"/>
            </a:br>
            <a:r>
              <a:rPr lang="es-MX" dirty="0" smtClean="0"/>
              <a:t>- Energía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93C0D95-9F8C-4642-8674-4A4C3D9E636D}" type="slidenum">
              <a:rPr lang="es-MX" smtClean="0"/>
              <a:pPr/>
              <a:t>31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62528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7520" y="0"/>
            <a:ext cx="7347325" cy="731837"/>
          </a:xfrm>
        </p:spPr>
        <p:txBody>
          <a:bodyPr>
            <a:noAutofit/>
          </a:bodyPr>
          <a:lstStyle/>
          <a:p>
            <a:pPr algn="l">
              <a:tabLst>
                <a:tab pos="3854450" algn="l"/>
              </a:tabLst>
            </a:pPr>
            <a:r>
              <a:rPr lang="es-MX" sz="2000" dirty="0" smtClean="0">
                <a:solidFill>
                  <a:srgbClr val="0070C0"/>
                </a:solidFill>
              </a:rPr>
              <a:t>TEGRA con tecnología para descubrir reservas de agua renovable sin afectar acuíferos convencionales para sector energético</a:t>
            </a:r>
            <a:br>
              <a:rPr lang="es-MX" sz="2000" dirty="0" smtClean="0">
                <a:solidFill>
                  <a:srgbClr val="0070C0"/>
                </a:solidFill>
              </a:rPr>
            </a:br>
            <a:r>
              <a:rPr lang="es-MX" sz="1800" dirty="0" smtClean="0"/>
              <a:t>Pozos de agua en Texas (Eagle </a:t>
            </a:r>
            <a:r>
              <a:rPr lang="es-MX" sz="1800" dirty="0" err="1" smtClean="0"/>
              <a:t>Ford,Wolfcamp</a:t>
            </a:r>
            <a:r>
              <a:rPr lang="es-MX" sz="1800" dirty="0" smtClean="0"/>
              <a:t>/</a:t>
            </a:r>
            <a:r>
              <a:rPr lang="es-MX" sz="1800" dirty="0" err="1" smtClean="0"/>
              <a:t>Permian</a:t>
            </a:r>
            <a:r>
              <a:rPr lang="es-MX" sz="1800" dirty="0" smtClean="0"/>
              <a:t>), Kansas (</a:t>
            </a:r>
            <a:r>
              <a:rPr lang="es-MX" sz="1800" dirty="0" err="1" smtClean="0"/>
              <a:t>Mississipi</a:t>
            </a:r>
            <a:r>
              <a:rPr lang="es-MX" sz="1800" dirty="0" smtClean="0"/>
              <a:t> lime) </a:t>
            </a:r>
            <a:r>
              <a:rPr lang="es-MX" sz="1800" dirty="0"/>
              <a:t>y Dakota del </a:t>
            </a:r>
            <a:r>
              <a:rPr lang="es-MX" sz="1800" dirty="0" smtClean="0"/>
              <a:t>Norte (</a:t>
            </a:r>
            <a:r>
              <a:rPr lang="es-MX" sz="1800" dirty="0" err="1" smtClean="0"/>
              <a:t>Bakken</a:t>
            </a:r>
            <a:r>
              <a:rPr lang="es-MX" sz="1800" dirty="0" smtClean="0"/>
              <a:t>)</a:t>
            </a:r>
            <a:endParaRPr lang="es-MX" sz="18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5931" y="1628750"/>
            <a:ext cx="2736380" cy="518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49" r="28830"/>
          <a:stretch/>
        </p:blipFill>
        <p:spPr bwMode="auto">
          <a:xfrm>
            <a:off x="3491850" y="1628751"/>
            <a:ext cx="2670049" cy="518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C:\Users\ggalvan\Desktop\Energia\Renovables\Agua\Imágenes\McKenzie County ND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28" y="1637127"/>
            <a:ext cx="3340830" cy="2505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89" y="4293120"/>
            <a:ext cx="3303851" cy="2520351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FB67A88-2410-4536-B75E-CB964C399EF0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7037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s-MX" sz="2000" dirty="0" smtClean="0">
                <a:solidFill>
                  <a:srgbClr val="0070C0"/>
                </a:solidFill>
              </a:rPr>
              <a:t>Así como para consumo humano y agrícola en diversas regiones (selváticas, desérticas, montañosas e islas)</a:t>
            </a:r>
            <a:endParaRPr lang="en-US" sz="2000" dirty="0">
              <a:solidFill>
                <a:srgbClr val="0070C0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403" y="1484730"/>
            <a:ext cx="7093253" cy="5169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85230" y="990600"/>
            <a:ext cx="8229600" cy="5121275"/>
          </a:xfrm>
        </p:spPr>
        <p:txBody>
          <a:bodyPr/>
          <a:lstStyle/>
          <a:p>
            <a:endParaRPr lang="es-MX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s-MX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endParaRPr lang="en-US" sz="20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" name="Picture 8" descr="C:\Documents and Settings\idelapena\Local Settings\Temporary Internet Files\Content.Word\Image020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3224" y="1565794"/>
            <a:ext cx="1943246" cy="1359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338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s-MX" sz="2000" dirty="0">
                <a:solidFill>
                  <a:srgbClr val="0070C0"/>
                </a:solidFill>
              </a:rPr>
              <a:t>Existe un gran potencial de Agua Nueva de </a:t>
            </a:r>
            <a:r>
              <a:rPr lang="es-MX" sz="2000" dirty="0" err="1">
                <a:solidFill>
                  <a:srgbClr val="0070C0"/>
                </a:solidFill>
              </a:rPr>
              <a:t>Megacuencas</a:t>
            </a:r>
            <a:r>
              <a:rPr lang="es-MX" sz="2000" dirty="0">
                <a:solidFill>
                  <a:srgbClr val="0070C0"/>
                </a:solidFill>
              </a:rPr>
              <a:t> </a:t>
            </a:r>
            <a:r>
              <a:rPr lang="es-MX" sz="2000" dirty="0" smtClean="0">
                <a:solidFill>
                  <a:srgbClr val="0070C0"/>
                </a:solidFill>
              </a:rPr>
              <a:t>subterránea que puede desarrollarse con el apoyo de esta tecnología en condiciones competitivas</a:t>
            </a:r>
            <a:endParaRPr lang="en-US" sz="2000" dirty="0">
              <a:solidFill>
                <a:srgbClr val="0070C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08130" y="6234720"/>
            <a:ext cx="1440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dirty="0" smtClean="0"/>
              <a:t>Consumo Humano</a:t>
            </a:r>
          </a:p>
          <a:p>
            <a:pPr algn="ctr"/>
            <a:r>
              <a:rPr lang="es-MX" sz="900" dirty="0" smtClean="0"/>
              <a:t>Ríos, Presas y acuíferos convencionales</a:t>
            </a:r>
            <a:endParaRPr lang="es-MX" sz="900" dirty="0"/>
          </a:p>
        </p:txBody>
      </p:sp>
      <p:sp>
        <p:nvSpPr>
          <p:cNvPr id="6" name="TextBox 5"/>
          <p:cNvSpPr txBox="1"/>
          <p:nvPr/>
        </p:nvSpPr>
        <p:spPr>
          <a:xfrm>
            <a:off x="1979640" y="6085710"/>
            <a:ext cx="1440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s-MX" sz="900" dirty="0" smtClean="0"/>
          </a:p>
          <a:p>
            <a:pPr algn="ctr"/>
            <a:r>
              <a:rPr lang="es-MX" sz="900" dirty="0" smtClean="0"/>
              <a:t>Agua Dulce</a:t>
            </a:r>
          </a:p>
          <a:p>
            <a:pPr algn="ctr"/>
            <a:r>
              <a:rPr lang="es-MX" sz="900" dirty="0" smtClean="0"/>
              <a:t>Congelada</a:t>
            </a:r>
          </a:p>
          <a:p>
            <a:pPr algn="ctr"/>
            <a:endParaRPr lang="es-MX" sz="900" dirty="0"/>
          </a:p>
        </p:txBody>
      </p:sp>
      <p:sp>
        <p:nvSpPr>
          <p:cNvPr id="7" name="TextBox 6"/>
          <p:cNvSpPr txBox="1"/>
          <p:nvPr/>
        </p:nvSpPr>
        <p:spPr>
          <a:xfrm>
            <a:off x="3815734" y="6333032"/>
            <a:ext cx="13398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dirty="0" err="1" smtClean="0"/>
              <a:t>Megacuenca</a:t>
            </a:r>
            <a:r>
              <a:rPr lang="es-MX" sz="900" dirty="0" smtClean="0"/>
              <a:t> de Agua</a:t>
            </a:r>
          </a:p>
          <a:p>
            <a:pPr algn="ctr"/>
            <a:r>
              <a:rPr lang="es-MX" sz="900" dirty="0" smtClean="0"/>
              <a:t>Potencial de agua Nueva</a:t>
            </a:r>
            <a:endParaRPr lang="es-MX" sz="900" dirty="0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5595" b="80448" l="11555" r="310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154" t="55937" r="66149" b="18873"/>
          <a:stretch/>
        </p:blipFill>
        <p:spPr bwMode="auto">
          <a:xfrm>
            <a:off x="2104280" y="4735962"/>
            <a:ext cx="1224170" cy="1512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4653" b="83510" l="38374" r="6148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378" t="54894" r="36925" b="16318"/>
          <a:stretch/>
        </p:blipFill>
        <p:spPr bwMode="auto">
          <a:xfrm>
            <a:off x="3873571" y="4653170"/>
            <a:ext cx="1224170" cy="1728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5595" b="80683" l="67618" r="8858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7264" t="55937" r="10945" b="18873"/>
          <a:stretch/>
        </p:blipFill>
        <p:spPr bwMode="auto">
          <a:xfrm>
            <a:off x="5652150" y="4722510"/>
            <a:ext cx="1080150" cy="1512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 descr="Mundo Agua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4833" y="1124680"/>
            <a:ext cx="4909527" cy="2980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1350401" y="2373514"/>
            <a:ext cx="1536701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97.5%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gua Salada</a:t>
            </a:r>
            <a:endParaRPr kumimoji="0" lang="es-MX" altLang="es-MX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Text Box 4"/>
          <p:cNvSpPr txBox="1">
            <a:spLocks noChangeArrowheads="1"/>
          </p:cNvSpPr>
          <p:nvPr/>
        </p:nvSpPr>
        <p:spPr bwMode="auto">
          <a:xfrm>
            <a:off x="3697152" y="3573020"/>
            <a:ext cx="1511300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2.5%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MX" altLang="es-MX" sz="16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gua Dulce</a:t>
            </a:r>
            <a:endParaRPr kumimoji="0" lang="es-MX" altLang="es-MX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7" name="Straight Connector 16"/>
          <p:cNvCxnSpPr>
            <a:endCxn id="15" idx="2"/>
          </p:cNvCxnSpPr>
          <p:nvPr/>
        </p:nvCxnSpPr>
        <p:spPr>
          <a:xfrm>
            <a:off x="4452802" y="4061736"/>
            <a:ext cx="0" cy="2351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2699740" y="4302896"/>
            <a:ext cx="348514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2699740" y="4293120"/>
            <a:ext cx="0" cy="2351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4452802" y="4300899"/>
            <a:ext cx="0" cy="2351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184888" y="4293120"/>
            <a:ext cx="0" cy="23518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6948330" y="6391907"/>
            <a:ext cx="2133600" cy="365125"/>
          </a:xfrm>
        </p:spPr>
        <p:txBody>
          <a:bodyPr/>
          <a:lstStyle/>
          <a:p>
            <a:pPr algn="r">
              <a:defRPr/>
            </a:pPr>
            <a:fld id="{E7C4274F-EC4B-4A39-8BCB-55196895D825}" type="slidenum">
              <a:rPr lang="en-US" smtClean="0"/>
              <a:pPr algn="r"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6158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95536" y="1412776"/>
            <a:ext cx="8291264" cy="5262344"/>
          </a:xfrm>
        </p:spPr>
        <p:txBody>
          <a:bodyPr/>
          <a:lstStyle/>
          <a:p>
            <a:r>
              <a:rPr lang="es-MX" sz="1600" dirty="0" smtClean="0"/>
              <a:t>Sector de </a:t>
            </a:r>
            <a:r>
              <a:rPr lang="es-MX" sz="1600" dirty="0"/>
              <a:t>energía en </a:t>
            </a:r>
            <a:r>
              <a:rPr lang="es-MX" sz="1600" dirty="0" smtClean="0"/>
              <a:t>zona Norteamérica </a:t>
            </a:r>
            <a:r>
              <a:rPr lang="es-MX" sz="1600" dirty="0"/>
              <a:t>(TLCAN) es muy importante y </a:t>
            </a:r>
            <a:r>
              <a:rPr lang="es-MX" sz="1600" dirty="0" smtClean="0"/>
              <a:t>pleno </a:t>
            </a:r>
            <a:r>
              <a:rPr lang="es-MX" sz="1600" dirty="0"/>
              <a:t>a futuro de </a:t>
            </a:r>
            <a:r>
              <a:rPr lang="es-MX" sz="1600" dirty="0" smtClean="0"/>
              <a:t>oportunidades.</a:t>
            </a:r>
          </a:p>
          <a:p>
            <a:endParaRPr lang="es-MX" sz="1600" dirty="0" smtClean="0"/>
          </a:p>
          <a:p>
            <a:r>
              <a:rPr lang="es-MX" sz="1600" dirty="0" smtClean="0"/>
              <a:t>Necesario </a:t>
            </a:r>
            <a:r>
              <a:rPr lang="es-MX" sz="1600" dirty="0"/>
              <a:t>desarrollar </a:t>
            </a:r>
            <a:r>
              <a:rPr lang="es-MX" sz="1600" dirty="0" smtClean="0"/>
              <a:t>estrategia </a:t>
            </a:r>
            <a:r>
              <a:rPr lang="es-MX" sz="1600" dirty="0"/>
              <a:t>integral de largo plazo, </a:t>
            </a:r>
            <a:r>
              <a:rPr lang="es-MX" sz="1600" dirty="0" smtClean="0"/>
              <a:t>relevante </a:t>
            </a:r>
            <a:r>
              <a:rPr lang="es-MX" sz="1600" dirty="0"/>
              <a:t>a nivel </a:t>
            </a:r>
            <a:r>
              <a:rPr lang="es-MX" sz="1600" dirty="0" smtClean="0"/>
              <a:t>mundial, </a:t>
            </a:r>
            <a:r>
              <a:rPr lang="es-MX" sz="1600" dirty="0"/>
              <a:t>y </a:t>
            </a:r>
            <a:r>
              <a:rPr lang="es-MX" sz="1600" dirty="0" smtClean="0"/>
              <a:t>permitir impulsar competitividad y prosperidad sustentable </a:t>
            </a:r>
            <a:r>
              <a:rPr lang="es-MX" sz="1600" dirty="0"/>
              <a:t>en la </a:t>
            </a:r>
            <a:r>
              <a:rPr lang="es-MX" sz="1600" dirty="0" smtClean="0"/>
              <a:t>región.</a:t>
            </a:r>
          </a:p>
          <a:p>
            <a:endParaRPr lang="es-MX" sz="1600" dirty="0" smtClean="0"/>
          </a:p>
          <a:p>
            <a:r>
              <a:rPr lang="es-MX" sz="1600" dirty="0" smtClean="0"/>
              <a:t>Promover uso de gas natural como combustible limpio en diferentes actividades,  combustible de transición y de respaldo para el desarrollo de las energías renovables; generar </a:t>
            </a:r>
            <a:r>
              <a:rPr lang="es-MX" sz="1600" dirty="0"/>
              <a:t>un equipo conjunto para trabajar en esta estrategia </a:t>
            </a:r>
            <a:r>
              <a:rPr lang="es-MX" sz="1600" dirty="0" smtClean="0"/>
              <a:t>regional.</a:t>
            </a:r>
          </a:p>
          <a:p>
            <a:endParaRPr lang="es-MX" sz="1600" dirty="0" smtClean="0"/>
          </a:p>
          <a:p>
            <a:r>
              <a:rPr lang="es-MX" sz="1600" dirty="0" smtClean="0"/>
              <a:t>Importante contar con un marco regulatorio, contractual y fiscal que permita una operación ágil, eficiente, segura y competitiva del sector energético</a:t>
            </a:r>
          </a:p>
          <a:p>
            <a:pPr lvl="1"/>
            <a:r>
              <a:rPr lang="es-MX" sz="1400" dirty="0"/>
              <a:t>C</a:t>
            </a:r>
            <a:r>
              <a:rPr lang="es-MX" sz="1400" dirty="0" smtClean="0"/>
              <a:t>onstrucción y “</a:t>
            </a:r>
            <a:r>
              <a:rPr lang="es-MX" sz="1400" dirty="0" err="1" smtClean="0"/>
              <a:t>expertise</a:t>
            </a:r>
            <a:r>
              <a:rPr lang="es-MX" sz="1400" dirty="0" smtClean="0"/>
              <a:t>” </a:t>
            </a:r>
            <a:r>
              <a:rPr lang="es-MX" sz="1400" dirty="0"/>
              <a:t>de capacidades </a:t>
            </a:r>
            <a:r>
              <a:rPr lang="es-MX" sz="1400" dirty="0" smtClean="0"/>
              <a:t>regulatorias, desarrollo de capital intelectual y planeación de infraestructura para eliminar cuellos de botella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onclusiones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93C0D95-9F8C-4642-8674-4A4C3D9E636D}" type="slidenum">
              <a:rPr lang="es-MX" smtClean="0"/>
              <a:pPr/>
              <a:t>35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732535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6496" y="1351816"/>
            <a:ext cx="8291264" cy="6161504"/>
          </a:xfrm>
        </p:spPr>
        <p:txBody>
          <a:bodyPr/>
          <a:lstStyle/>
          <a:p>
            <a:r>
              <a:rPr lang="es-MX" sz="1600" dirty="0" smtClean="0"/>
              <a:t>Desarrollo de </a:t>
            </a:r>
            <a:r>
              <a:rPr lang="es-MX" sz="1600" dirty="0" err="1" smtClean="0"/>
              <a:t>shale</a:t>
            </a:r>
            <a:r>
              <a:rPr lang="es-MX" sz="1600" dirty="0" smtClean="0"/>
              <a:t> a través de tecnologías amigables </a:t>
            </a:r>
            <a:r>
              <a:rPr lang="es-MX" sz="1600" dirty="0"/>
              <a:t>con medio ambiente </a:t>
            </a:r>
            <a:r>
              <a:rPr lang="es-MX" sz="1600" dirty="0" smtClean="0"/>
              <a:t>tiene </a:t>
            </a:r>
            <a:r>
              <a:rPr lang="es-MX" sz="1600" dirty="0"/>
              <a:t>todas las bases </a:t>
            </a:r>
            <a:r>
              <a:rPr lang="es-MX" sz="1600" dirty="0" smtClean="0"/>
              <a:t>técnicas para apoyar sustentabilidad. </a:t>
            </a:r>
          </a:p>
          <a:p>
            <a:endParaRPr lang="es-MX" sz="1600" dirty="0" smtClean="0"/>
          </a:p>
          <a:p>
            <a:r>
              <a:rPr lang="es-MX" sz="1600" dirty="0" smtClean="0"/>
              <a:t>Para el </a:t>
            </a:r>
            <a:r>
              <a:rPr lang="es-MX" sz="1600" dirty="0"/>
              <a:t>agua </a:t>
            </a:r>
            <a:r>
              <a:rPr lang="es-MX" sz="1600" dirty="0" smtClean="0"/>
              <a:t>en sector energético no requiere ser potable hay tecnologías para utilizar agua tratada de </a:t>
            </a:r>
            <a:r>
              <a:rPr lang="es-MX" sz="1600" dirty="0"/>
              <a:t>fuentes </a:t>
            </a:r>
            <a:r>
              <a:rPr lang="es-MX" sz="1600" dirty="0" smtClean="0"/>
              <a:t>profundas o no convencionales, sin afectar el </a:t>
            </a:r>
            <a:r>
              <a:rPr lang="es-MX" sz="1600" dirty="0"/>
              <a:t>abasto futuro ni la calidad a las ciudades y </a:t>
            </a:r>
            <a:r>
              <a:rPr lang="es-MX" sz="1600" dirty="0" smtClean="0"/>
              <a:t>agricultura, por tanto su desarrollo es seguro, competitivo y sustentable. Se deben </a:t>
            </a:r>
            <a:r>
              <a:rPr lang="es-MX" sz="1600" dirty="0"/>
              <a:t>seguir </a:t>
            </a:r>
            <a:r>
              <a:rPr lang="es-MX" sz="1600" dirty="0" smtClean="0"/>
              <a:t>las mejores prácticas para </a:t>
            </a:r>
            <a:r>
              <a:rPr lang="es-MX" sz="1600" dirty="0"/>
              <a:t>que así </a:t>
            </a:r>
            <a:r>
              <a:rPr lang="es-MX" sz="1600" dirty="0" smtClean="0"/>
              <a:t>sea.</a:t>
            </a:r>
          </a:p>
          <a:p>
            <a:endParaRPr lang="es-MX" sz="1600" dirty="0" smtClean="0"/>
          </a:p>
          <a:p>
            <a:r>
              <a:rPr lang="es-MX" sz="1600" dirty="0" smtClean="0"/>
              <a:t>Tecnología de </a:t>
            </a:r>
            <a:r>
              <a:rPr lang="es-MX" sz="1600" dirty="0"/>
              <a:t>agua </a:t>
            </a:r>
            <a:r>
              <a:rPr lang="es-MX" sz="1600" dirty="0" smtClean="0"/>
              <a:t>profunda o no convencional renovable puede ayudar a resolver </a:t>
            </a:r>
            <a:r>
              <a:rPr lang="es-MX" sz="1600" dirty="0"/>
              <a:t>las sequías en lugares como </a:t>
            </a:r>
            <a:r>
              <a:rPr lang="es-MX" sz="1600" dirty="0" smtClean="0"/>
              <a:t>California y México </a:t>
            </a:r>
            <a:r>
              <a:rPr lang="es-MX" sz="1600" dirty="0"/>
              <a:t>de manera sustentable y </a:t>
            </a:r>
            <a:r>
              <a:rPr lang="es-MX" sz="1600" dirty="0" smtClean="0"/>
              <a:t>competitiva. Entonces </a:t>
            </a:r>
            <a:r>
              <a:rPr lang="es-MX" sz="1600" dirty="0"/>
              <a:t>se debe promover esta tecnología y dar </a:t>
            </a:r>
            <a:r>
              <a:rPr lang="es-MX" sz="1600" dirty="0" smtClean="0"/>
              <a:t>facilidades </a:t>
            </a:r>
            <a:r>
              <a:rPr lang="es-MX" sz="1600" dirty="0"/>
              <a:t>a nivel gobiernos </a:t>
            </a:r>
            <a:r>
              <a:rPr lang="es-MX" sz="1600" dirty="0" smtClean="0"/>
              <a:t>federal, estatal y municipal para </a:t>
            </a:r>
            <a:r>
              <a:rPr lang="es-MX" sz="1600" dirty="0"/>
              <a:t>que </a:t>
            </a:r>
            <a:r>
              <a:rPr lang="es-MX" sz="1600" dirty="0" smtClean="0"/>
              <a:t>florezca.</a:t>
            </a:r>
          </a:p>
          <a:p>
            <a:endParaRPr lang="es-MX" sz="1600" dirty="0" smtClean="0"/>
          </a:p>
          <a:p>
            <a:r>
              <a:rPr lang="es-MX" sz="1600" dirty="0" smtClean="0"/>
              <a:t>La innovación y desarrollo tecnológico continuo en el sector energético es fundamental para el desarrollo sustentable, donde no compite ni por alimentos ni por agua y ayuda a reducir emisiones </a:t>
            </a:r>
            <a:r>
              <a:rPr lang="es-MX" sz="1600" dirty="0"/>
              <a:t>de gases de efecto </a:t>
            </a:r>
            <a:r>
              <a:rPr lang="es-MX" sz="1600" dirty="0" smtClean="0"/>
              <a:t>invernadero.</a:t>
            </a:r>
          </a:p>
          <a:p>
            <a:endParaRPr lang="es-MX" sz="1600" dirty="0" smtClean="0"/>
          </a:p>
          <a:p>
            <a:r>
              <a:rPr lang="es-MX" sz="1600" dirty="0" smtClean="0"/>
              <a:t>Importante </a:t>
            </a:r>
            <a:r>
              <a:rPr lang="es-MX" sz="1600" dirty="0"/>
              <a:t>ayudar y facilitar la implementación de dicha tecnología y eliminar sus barreras. El sector energético puede jugar un papel fundamental en el desarrollo sustentable del planeta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Conclusiones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93C0D95-9F8C-4642-8674-4A4C3D9E636D}" type="slidenum">
              <a:rPr lang="es-MX" smtClean="0"/>
              <a:pPr/>
              <a:t>36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15916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2906" y="332656"/>
            <a:ext cx="7703654" cy="648072"/>
          </a:xfrm>
        </p:spPr>
        <p:txBody>
          <a:bodyPr/>
          <a:lstStyle/>
          <a:p>
            <a:r>
              <a:rPr lang="es-MX" sz="2400" dirty="0" smtClean="0"/>
              <a:t>Beneficios adicionales Proyecto SIGMA por sustitución y mejora genética de ganado lechero con pequeñas ganaderas</a:t>
            </a:r>
            <a:endParaRPr lang="es-MX" sz="2400" dirty="0"/>
          </a:p>
        </p:txBody>
      </p:sp>
      <p:pic>
        <p:nvPicPr>
          <p:cNvPr id="8194" name="Picture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06" y="1135117"/>
            <a:ext cx="8811094" cy="5360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7010400" y="6467704"/>
            <a:ext cx="2133600" cy="365125"/>
          </a:xfrm>
        </p:spPr>
        <p:txBody>
          <a:bodyPr/>
          <a:lstStyle/>
          <a:p>
            <a:fld id="{793C0D95-9F8C-4642-8674-4A4C3D9E636D}" type="slidenum">
              <a:rPr lang="es-MX" sz="1800">
                <a:solidFill>
                  <a:schemeClr val="tx1"/>
                </a:solidFill>
              </a:rPr>
              <a:pPr/>
              <a:t>37</a:t>
            </a:fld>
            <a:endParaRPr lang="es-MX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631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6808" y="2961251"/>
            <a:ext cx="5689612" cy="3609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ontent Placeholder 1"/>
          <p:cNvSpPr>
            <a:spLocks noGrp="1"/>
          </p:cNvSpPr>
          <p:nvPr>
            <p:ph idx="1"/>
          </p:nvPr>
        </p:nvSpPr>
        <p:spPr>
          <a:xfrm>
            <a:off x="475420" y="1031352"/>
            <a:ext cx="8328669" cy="1693932"/>
          </a:xfrm>
        </p:spPr>
        <p:txBody>
          <a:bodyPr/>
          <a:lstStyle/>
          <a:p>
            <a:pPr lvl="0"/>
            <a:endParaRPr lang="es-MX" sz="1600" dirty="0" smtClean="0"/>
          </a:p>
          <a:p>
            <a:pPr lvl="0"/>
            <a:endParaRPr lang="es-MX" sz="1600" dirty="0" smtClean="0"/>
          </a:p>
          <a:p>
            <a:pPr lvl="0"/>
            <a:r>
              <a:rPr lang="es-MX" sz="1600" dirty="0" smtClean="0"/>
              <a:t>Adicionalmente reducción de ~8 </a:t>
            </a:r>
            <a:r>
              <a:rPr lang="es-MX" sz="1600" dirty="0" err="1" smtClean="0"/>
              <a:t>Mill</a:t>
            </a:r>
            <a:r>
              <a:rPr lang="es-MX" sz="1600" dirty="0" smtClean="0"/>
              <a:t>. Ton de emisiones/ año vs “</a:t>
            </a:r>
            <a:r>
              <a:rPr lang="es-MX" sz="1600" dirty="0" err="1" smtClean="0"/>
              <a:t>business</a:t>
            </a:r>
            <a:r>
              <a:rPr lang="es-MX" sz="1600" dirty="0" smtClean="0"/>
              <a:t> as usual”</a:t>
            </a:r>
            <a:endParaRPr lang="es-MX" sz="1600" dirty="0">
              <a:solidFill>
                <a:srgbClr val="FF0000"/>
              </a:solidFill>
            </a:endParaRPr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2517154" y="2374612"/>
            <a:ext cx="4181475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1F497D"/>
              </a:buClr>
              <a:defRPr/>
            </a:pPr>
            <a:r>
              <a:rPr lang="es-MX" b="1" kern="0" dirty="0" smtClean="0"/>
              <a:t>Emisiones relacionadas a energía**</a:t>
            </a:r>
            <a:endParaRPr lang="es-MX" b="1" kern="0" dirty="0"/>
          </a:p>
        </p:txBody>
      </p:sp>
      <p:sp>
        <p:nvSpPr>
          <p:cNvPr id="25" name="Text Box 6"/>
          <p:cNvSpPr txBox="1">
            <a:spLocks noChangeArrowheads="1"/>
          </p:cNvSpPr>
          <p:nvPr/>
        </p:nvSpPr>
        <p:spPr bwMode="auto">
          <a:xfrm>
            <a:off x="1787467" y="2482334"/>
            <a:ext cx="1146468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endParaRPr kumimoji="0" lang="es-MX" sz="1400" b="1" i="0" u="none" strike="noStrike" kern="0" cap="none" spc="0" normalizeH="0" baseline="0" dirty="0" smtClean="0">
              <a:ln>
                <a:noFill/>
              </a:ln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</a:rPr>
              <a:t>M tons CO</a:t>
            </a:r>
            <a:r>
              <a:rPr kumimoji="0" lang="es-MX" sz="1400" b="1" i="0" u="none" strike="noStrike" kern="0" cap="none" spc="0" normalizeH="0" baseline="-25000" dirty="0" smtClean="0">
                <a:ln>
                  <a:noFill/>
                </a:ln>
                <a:effectLst/>
                <a:uLnTx/>
                <a:uFillTx/>
              </a:rPr>
              <a:t>2</a:t>
            </a:r>
            <a:endParaRPr kumimoji="0" lang="es-MX" sz="1400" b="1" i="0" u="none" strike="noStrike" kern="0" cap="none" spc="0" normalizeH="0" baseline="-2500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452400" y="4194190"/>
            <a:ext cx="13131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 smtClean="0"/>
              <a:t>emisiones</a:t>
            </a:r>
            <a:endParaRPr lang="es-MX" sz="1400" b="1" dirty="0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>
          <a:xfrm>
            <a:off x="467430" y="188550"/>
            <a:ext cx="7487850" cy="731837"/>
          </a:xfrm>
        </p:spPr>
        <p:txBody>
          <a:bodyPr>
            <a:noAutofit/>
          </a:bodyPr>
          <a:lstStyle/>
          <a:p>
            <a:pPr algn="l"/>
            <a:r>
              <a:rPr lang="es-MX" sz="1800" b="1" dirty="0">
                <a:solidFill>
                  <a:srgbClr val="5780AE"/>
                </a:solidFill>
              </a:rPr>
              <a:t>ALFA ha reducido sus </a:t>
            </a:r>
            <a:r>
              <a:rPr lang="es-MX" sz="1800" b="1" dirty="0" smtClean="0">
                <a:solidFill>
                  <a:srgbClr val="5780AE"/>
                </a:solidFill>
              </a:rPr>
              <a:t>emisiones de GEI* </a:t>
            </a:r>
            <a:r>
              <a:rPr lang="es-MX" sz="1800" b="1" dirty="0">
                <a:solidFill>
                  <a:srgbClr val="5780AE"/>
                </a:solidFill>
              </a:rPr>
              <a:t>en 34%, aún aumentando su producción en 75</a:t>
            </a:r>
            <a:r>
              <a:rPr lang="es-MX" sz="1800" b="1" dirty="0" smtClean="0">
                <a:solidFill>
                  <a:srgbClr val="5780AE"/>
                </a:solidFill>
              </a:rPr>
              <a:t>% vía productividad energética e innovación</a:t>
            </a:r>
            <a:endParaRPr lang="es-MX" sz="1800" b="1" dirty="0">
              <a:solidFill>
                <a:srgbClr val="5780A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54397" y="3474090"/>
            <a:ext cx="21146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 smtClean="0"/>
              <a:t>Producción +75%</a:t>
            </a:r>
            <a:endParaRPr lang="es-MX" b="1" dirty="0"/>
          </a:p>
        </p:txBody>
      </p:sp>
      <p:sp>
        <p:nvSpPr>
          <p:cNvPr id="9" name="TextBox 8"/>
          <p:cNvSpPr txBox="1"/>
          <p:nvPr/>
        </p:nvSpPr>
        <p:spPr>
          <a:xfrm>
            <a:off x="234031" y="6413655"/>
            <a:ext cx="48445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/>
              <a:t>* GEI: Gases de Efecto Invernadero </a:t>
            </a:r>
          </a:p>
          <a:p>
            <a:r>
              <a:rPr lang="es-MX" sz="1200" b="1" dirty="0" smtClean="0"/>
              <a:t>** No considera proyectos de reciclaje, captura de carbono, etc.</a:t>
            </a:r>
            <a:endParaRPr lang="es-MX" sz="12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D7D9BA-39EF-4B6E-ABDF-D79711EA21BF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359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32906" y="71120"/>
            <a:ext cx="7622374" cy="909608"/>
          </a:xfrm>
        </p:spPr>
        <p:txBody>
          <a:bodyPr/>
          <a:lstStyle/>
          <a:p>
            <a:r>
              <a:rPr lang="es-MX" sz="2400" dirty="0" smtClean="0"/>
              <a:t>ALFA tiene un Compromiso de Responsabilidad Social y Ambiental</a:t>
            </a:r>
            <a:r>
              <a:rPr lang="es-MX" sz="2400" dirty="0"/>
              <a:t>.</a:t>
            </a:r>
            <a:r>
              <a:rPr lang="es-MX" sz="2400" dirty="0" smtClean="0"/>
              <a:t> A manera ilustrativa:</a:t>
            </a:r>
            <a:endParaRPr lang="es-MX" sz="2400" dirty="0"/>
          </a:p>
        </p:txBody>
      </p:sp>
      <p:sp>
        <p:nvSpPr>
          <p:cNvPr id="4" name="TextBox 3"/>
          <p:cNvSpPr txBox="1"/>
          <p:nvPr/>
        </p:nvSpPr>
        <p:spPr>
          <a:xfrm>
            <a:off x="313487" y="1664752"/>
            <a:ext cx="231647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Primer proyecto mayor de cogeneración</a:t>
            </a:r>
            <a:endParaRPr lang="es-MX" sz="1400" dirty="0"/>
          </a:p>
        </p:txBody>
      </p:sp>
      <p:pic>
        <p:nvPicPr>
          <p:cNvPr id="5" name="Picture 9" descr="C:\Documents and Settings\sparra.ALPEK\My Documents\My Pictures\aep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24"/>
          <a:stretch/>
        </p:blipFill>
        <p:spPr bwMode="auto">
          <a:xfrm>
            <a:off x="2866155" y="1247764"/>
            <a:ext cx="2232475" cy="1332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258560" y="1449308"/>
            <a:ext cx="3027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Reducción 700 </a:t>
            </a:r>
            <a:r>
              <a:rPr lang="es-MX" sz="1400" dirty="0" err="1" smtClean="0"/>
              <a:t>kTon</a:t>
            </a:r>
            <a:r>
              <a:rPr lang="es-MX" sz="1400" dirty="0" smtClean="0"/>
              <a:t> emisi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Cero consumo de agu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Cero descar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Cero accidentes</a:t>
            </a:r>
            <a:endParaRPr lang="es-MX" sz="1400" dirty="0"/>
          </a:p>
        </p:txBody>
      </p:sp>
      <p:sp>
        <p:nvSpPr>
          <p:cNvPr id="7" name="Right Arrow 6"/>
          <p:cNvSpPr/>
          <p:nvPr/>
        </p:nvSpPr>
        <p:spPr>
          <a:xfrm>
            <a:off x="5504604" y="1795555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8" name="TextBox 7"/>
          <p:cNvSpPr txBox="1"/>
          <p:nvPr/>
        </p:nvSpPr>
        <p:spPr>
          <a:xfrm>
            <a:off x="313487" y="2695022"/>
            <a:ext cx="85953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b="1" dirty="0" smtClean="0"/>
              <a:t>Otros proyectos de cogeneración y </a:t>
            </a:r>
            <a:r>
              <a:rPr lang="es-MX" sz="1400" b="1" dirty="0" err="1" smtClean="0"/>
              <a:t>autoabasto</a:t>
            </a:r>
            <a:r>
              <a:rPr lang="es-MX" sz="1400" b="1" dirty="0" smtClean="0"/>
              <a:t> con reducción de emisiones: SIGMA, </a:t>
            </a:r>
            <a:r>
              <a:rPr lang="es-MX" sz="1400" b="1" dirty="0" err="1" smtClean="0"/>
              <a:t>Polioles</a:t>
            </a:r>
            <a:r>
              <a:rPr lang="es-MX" sz="1400" b="1" dirty="0" smtClean="0"/>
              <a:t>, TEMEX, IEM (~1 MM Ton emisiones). Futuros: Altamira y </a:t>
            </a:r>
            <a:r>
              <a:rPr lang="es-MX" sz="1400" b="1" dirty="0" err="1" smtClean="0"/>
              <a:t>Univex</a:t>
            </a:r>
            <a:endParaRPr lang="es-MX" sz="14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13487" y="3575442"/>
            <a:ext cx="31920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Mayor proyecto Eficiencia Energética a nivel mundial</a:t>
            </a:r>
            <a:endParaRPr lang="es-MX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6258560" y="3464704"/>
            <a:ext cx="30276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Reducción de 250 </a:t>
            </a:r>
            <a:r>
              <a:rPr lang="es-MX" sz="1400" dirty="0" err="1" smtClean="0"/>
              <a:t>kTon</a:t>
            </a:r>
            <a:r>
              <a:rPr lang="es-MX" sz="1400" dirty="0" smtClean="0"/>
              <a:t> CO</a:t>
            </a:r>
            <a:r>
              <a:rPr lang="es-MX" sz="1400" baseline="-25000" dirty="0" smtClean="0"/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Adicionalmente 500 proyectos de eficiencia energética</a:t>
            </a:r>
            <a:endParaRPr lang="es-MX" sz="1400" dirty="0"/>
          </a:p>
        </p:txBody>
      </p:sp>
      <p:sp>
        <p:nvSpPr>
          <p:cNvPr id="11" name="Right Arrow 10"/>
          <p:cNvSpPr/>
          <p:nvPr/>
        </p:nvSpPr>
        <p:spPr>
          <a:xfrm>
            <a:off x="5504604" y="3617245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/>
          <a:srcRect l="7691" r="18478" b="-45"/>
          <a:stretch>
            <a:fillRect/>
          </a:stretch>
        </p:blipFill>
        <p:spPr bwMode="auto">
          <a:xfrm>
            <a:off x="3442452" y="3218242"/>
            <a:ext cx="1159732" cy="1178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313487" y="4734902"/>
            <a:ext cx="20828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Captura de emisiones de refinería </a:t>
            </a:r>
            <a:endParaRPr lang="es-MX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6258560" y="4695284"/>
            <a:ext cx="30276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Captura de carbono a polipropileno y LP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Captura de 900 </a:t>
            </a:r>
            <a:r>
              <a:rPr lang="es-MX" sz="1400" dirty="0" err="1" smtClean="0"/>
              <a:t>kTon</a:t>
            </a:r>
            <a:r>
              <a:rPr lang="es-MX" sz="1400" dirty="0" smtClean="0"/>
              <a:t> CO</a:t>
            </a:r>
            <a:r>
              <a:rPr lang="es-MX" sz="1400" baseline="-25000" dirty="0"/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sz="1400" dirty="0"/>
          </a:p>
        </p:txBody>
      </p:sp>
      <p:sp>
        <p:nvSpPr>
          <p:cNvPr id="15" name="Right Arrow 14"/>
          <p:cNvSpPr/>
          <p:nvPr/>
        </p:nvSpPr>
        <p:spPr>
          <a:xfrm>
            <a:off x="5504604" y="4932536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519" y="4744432"/>
            <a:ext cx="1139254" cy="772214"/>
          </a:xfrm>
          <a:prstGeom prst="rect">
            <a:avLst/>
          </a:prstGeom>
        </p:spPr>
      </p:pic>
      <p:sp>
        <p:nvSpPr>
          <p:cNvPr id="20" name="Right Arrow 19"/>
          <p:cNvSpPr/>
          <p:nvPr/>
        </p:nvSpPr>
        <p:spPr>
          <a:xfrm>
            <a:off x="3333139" y="4932536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289" b="46823"/>
          <a:stretch/>
        </p:blipFill>
        <p:spPr>
          <a:xfrm>
            <a:off x="4022318" y="4604413"/>
            <a:ext cx="1327770" cy="114269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313487" y="6038689"/>
            <a:ext cx="2082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Tecnología propietaria</a:t>
            </a:r>
            <a:endParaRPr lang="es-MX" sz="1400" dirty="0"/>
          </a:p>
        </p:txBody>
      </p:sp>
      <p:sp>
        <p:nvSpPr>
          <p:cNvPr id="23" name="TextBox 22"/>
          <p:cNvSpPr txBox="1"/>
          <p:nvPr/>
        </p:nvSpPr>
        <p:spPr>
          <a:xfrm>
            <a:off x="3505524" y="6223994"/>
            <a:ext cx="1754806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s-MX" sz="1400" dirty="0" smtClean="0"/>
              <a:t>Captura CO</a:t>
            </a:r>
            <a:r>
              <a:rPr lang="es-MX" sz="1400" baseline="-25000" dirty="0" smtClean="0"/>
              <a:t>2</a:t>
            </a:r>
            <a:endParaRPr lang="es-MX" sz="1400" baseline="-25000" dirty="0"/>
          </a:p>
        </p:txBody>
      </p:sp>
      <p:sp>
        <p:nvSpPr>
          <p:cNvPr id="24" name="TextBox 23"/>
          <p:cNvSpPr txBox="1"/>
          <p:nvPr/>
        </p:nvSpPr>
        <p:spPr>
          <a:xfrm>
            <a:off x="6255367" y="6300299"/>
            <a:ext cx="30276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err="1" smtClean="0"/>
              <a:t>Caprolactama</a:t>
            </a:r>
            <a:r>
              <a:rPr lang="es-MX" sz="1400" dirty="0" smtClean="0"/>
              <a:t> </a:t>
            </a:r>
          </a:p>
        </p:txBody>
      </p:sp>
      <p:sp>
        <p:nvSpPr>
          <p:cNvPr id="25" name="Right Arrow 24"/>
          <p:cNvSpPr/>
          <p:nvPr/>
        </p:nvSpPr>
        <p:spPr>
          <a:xfrm>
            <a:off x="5504604" y="6270885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6" name="Right Arrow 25"/>
          <p:cNvSpPr/>
          <p:nvPr/>
        </p:nvSpPr>
        <p:spPr>
          <a:xfrm>
            <a:off x="2396287" y="6278447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93C0D95-9F8C-4642-8674-4A4C3D9E636D}" type="slidenum">
              <a:rPr lang="es-MX" sz="1800">
                <a:solidFill>
                  <a:schemeClr val="tx1"/>
                </a:solidFill>
              </a:rPr>
              <a:pPr/>
              <a:t>5</a:t>
            </a:fld>
            <a:endParaRPr lang="es-MX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40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98848" y="1352878"/>
            <a:ext cx="23164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Reciclaje 33,000 Millones de latas de aluminio</a:t>
            </a:r>
            <a:endParaRPr lang="es-MX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6343921" y="1352878"/>
            <a:ext cx="3027680" cy="7386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Reducción 5 Millones Ton CO</a:t>
            </a:r>
            <a:r>
              <a:rPr lang="es-MX" sz="1400" baseline="-25000" dirty="0"/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Producto de alta tecnologí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sz="1400" dirty="0"/>
          </a:p>
        </p:txBody>
      </p:sp>
      <p:sp>
        <p:nvSpPr>
          <p:cNvPr id="6" name="Right Arrow 5"/>
          <p:cNvSpPr/>
          <p:nvPr/>
        </p:nvSpPr>
        <p:spPr>
          <a:xfrm>
            <a:off x="5589965" y="1483681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pSp>
        <p:nvGrpSpPr>
          <p:cNvPr id="7" name="Group 13"/>
          <p:cNvGrpSpPr/>
          <p:nvPr/>
        </p:nvGrpSpPr>
        <p:grpSpPr>
          <a:xfrm>
            <a:off x="2337254" y="1273086"/>
            <a:ext cx="653867" cy="1058680"/>
            <a:chOff x="214227" y="3948993"/>
            <a:chExt cx="1394369" cy="2092847"/>
          </a:xfrm>
        </p:grpSpPr>
        <p:sp>
          <p:nvSpPr>
            <p:cNvPr id="8" name="Rectangle 7"/>
            <p:cNvSpPr/>
            <p:nvPr/>
          </p:nvSpPr>
          <p:spPr bwMode="auto">
            <a:xfrm>
              <a:off x="844062" y="4200211"/>
              <a:ext cx="411982" cy="7938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MX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" name="Picture 4" descr="http://besbryant.sharpschool.com/UserFiles/Servers/Server_839715/Image/AluminumCan.jpg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214227" y="3948993"/>
              <a:ext cx="1394369" cy="2092847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10" name="Picture 7" descr="Z:\DCG\Presentaciones Ejecutivas\Imágenes para Presentaciones\49_asamb08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9307" y="935308"/>
            <a:ext cx="1145070" cy="133591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ight Arrow 10"/>
          <p:cNvSpPr/>
          <p:nvPr/>
        </p:nvSpPr>
        <p:spPr>
          <a:xfrm>
            <a:off x="3246821" y="1473840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extBox 11"/>
          <p:cNvSpPr txBox="1"/>
          <p:nvPr/>
        </p:nvSpPr>
        <p:spPr>
          <a:xfrm>
            <a:off x="418267" y="2508888"/>
            <a:ext cx="23164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Reciclaje 17,000 millones botellas de PET</a:t>
            </a:r>
            <a:endParaRPr lang="es-MX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6343921" y="2508888"/>
            <a:ext cx="3027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Reducción emisiones</a:t>
            </a:r>
            <a:endParaRPr lang="es-MX" sz="1400" baseline="-25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Valorización de residuos</a:t>
            </a:r>
            <a:endParaRPr lang="es-MX" sz="1400" dirty="0"/>
          </a:p>
        </p:txBody>
      </p:sp>
      <p:sp>
        <p:nvSpPr>
          <p:cNvPr id="14" name="Right Arrow 13"/>
          <p:cNvSpPr/>
          <p:nvPr/>
        </p:nvSpPr>
        <p:spPr>
          <a:xfrm>
            <a:off x="5589965" y="2639691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Right Arrow 14"/>
          <p:cNvSpPr/>
          <p:nvPr/>
        </p:nvSpPr>
        <p:spPr>
          <a:xfrm>
            <a:off x="3266240" y="2629850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7" name="Picture 3" descr="Z:\DCG\Presentaciones Ejecutivas\Imágenes para Presentaciones\water bottles_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60171" y="2344174"/>
            <a:ext cx="813868" cy="111425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/>
          <p:cNvSpPr txBox="1"/>
          <p:nvPr/>
        </p:nvSpPr>
        <p:spPr>
          <a:xfrm>
            <a:off x="397818" y="3829607"/>
            <a:ext cx="33205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Sustitución de combustibles pesados por combustibles limpios</a:t>
            </a:r>
            <a:endParaRPr lang="es-MX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6343921" y="3698804"/>
            <a:ext cx="30276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Reducción emisiones</a:t>
            </a:r>
            <a:endParaRPr lang="es-MX" sz="1400" baseline="-25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Eficiencia</a:t>
            </a:r>
            <a:endParaRPr lang="es-MX" sz="1400" dirty="0"/>
          </a:p>
        </p:txBody>
      </p:sp>
      <p:sp>
        <p:nvSpPr>
          <p:cNvPr id="21" name="Right Arrow 20"/>
          <p:cNvSpPr/>
          <p:nvPr/>
        </p:nvSpPr>
        <p:spPr>
          <a:xfrm>
            <a:off x="5589965" y="3829607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2825" y="3583218"/>
            <a:ext cx="1524000" cy="101600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97818" y="4774147"/>
            <a:ext cx="231751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Sustitución y mejora genética de ganado lechero con pequeños ganaderos</a:t>
            </a:r>
            <a:endParaRPr lang="es-MX" sz="1400" dirty="0"/>
          </a:p>
        </p:txBody>
      </p:sp>
      <p:sp>
        <p:nvSpPr>
          <p:cNvPr id="28" name="TextBox 27"/>
          <p:cNvSpPr txBox="1"/>
          <p:nvPr/>
        </p:nvSpPr>
        <p:spPr>
          <a:xfrm>
            <a:off x="6343921" y="4722414"/>
            <a:ext cx="302768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Se triplica producción por anim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60% reducción emisio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60% reducción consumo de agua</a:t>
            </a:r>
            <a:endParaRPr lang="es-MX" sz="1400" dirty="0"/>
          </a:p>
        </p:txBody>
      </p:sp>
      <p:sp>
        <p:nvSpPr>
          <p:cNvPr id="29" name="Right Arrow 28"/>
          <p:cNvSpPr/>
          <p:nvPr/>
        </p:nvSpPr>
        <p:spPr>
          <a:xfrm>
            <a:off x="5589965" y="4995457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0" name="Right Arrow 29"/>
          <p:cNvSpPr/>
          <p:nvPr/>
        </p:nvSpPr>
        <p:spPr>
          <a:xfrm>
            <a:off x="3655607" y="5032217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1" name="Picture 30">
            <a:hlinkClick r:id="rId6" action="ppaction://hlinksldjump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26546" y="4748149"/>
            <a:ext cx="1072581" cy="80443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646" y="4797277"/>
            <a:ext cx="831858" cy="91958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768689" y="4756930"/>
            <a:ext cx="4283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dirty="0" smtClean="0">
                <a:solidFill>
                  <a:schemeClr val="bg1"/>
                </a:solidFill>
              </a:rPr>
              <a:t>3x</a:t>
            </a:r>
            <a:endParaRPr lang="es-MX" dirty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80731" y="6034205"/>
            <a:ext cx="330012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Proyectos de </a:t>
            </a:r>
            <a:r>
              <a:rPr lang="es-MX" sz="1400" dirty="0" err="1"/>
              <a:t>a</a:t>
            </a:r>
            <a:r>
              <a:rPr lang="es-MX" sz="1400" dirty="0" err="1" smtClean="0"/>
              <a:t>forestación</a:t>
            </a:r>
            <a:r>
              <a:rPr lang="es-MX" sz="1400" dirty="0" smtClean="0"/>
              <a:t> y reforestación con especies nativas y a poyo de biodiversidad</a:t>
            </a:r>
            <a:endParaRPr lang="es-MX" sz="1400" dirty="0"/>
          </a:p>
        </p:txBody>
      </p:sp>
      <p:sp>
        <p:nvSpPr>
          <p:cNvPr id="35" name="TextBox 34"/>
          <p:cNvSpPr txBox="1"/>
          <p:nvPr/>
        </p:nvSpPr>
        <p:spPr>
          <a:xfrm>
            <a:off x="6343921" y="6119336"/>
            <a:ext cx="30276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Captura de carbo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Mejora biodiversid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sz="1400" dirty="0" smtClean="0"/>
              <a:t>Mejora cuencas</a:t>
            </a:r>
            <a:endParaRPr lang="es-MX" sz="1400" dirty="0"/>
          </a:p>
        </p:txBody>
      </p:sp>
      <p:sp>
        <p:nvSpPr>
          <p:cNvPr id="36" name="Right Arrow 35"/>
          <p:cNvSpPr/>
          <p:nvPr/>
        </p:nvSpPr>
        <p:spPr>
          <a:xfrm>
            <a:off x="5589965" y="6228638"/>
            <a:ext cx="599440" cy="261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37" name="Picture 4"/>
          <p:cNvPicPr>
            <a:picLocks noGrp="1" noChangeAspect="1" noChangeArrowheads="1"/>
          </p:cNvPicPr>
          <p:nvPr>
            <p:ph sz="quarter" idx="2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946683" y="5821692"/>
            <a:ext cx="1388250" cy="1036308"/>
          </a:xfrm>
          <a:noFill/>
          <a:ln/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418267" y="219950"/>
            <a:ext cx="7503429" cy="156966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ct val="0"/>
              </a:spcBef>
              <a:buNone/>
              <a:defRPr sz="2400" b="1">
                <a:solidFill>
                  <a:srgbClr val="5780AE"/>
                </a:solidFill>
                <a:effectLst/>
                <a:latin typeface="Arial Narrow" pitchFamily="34" charset="0"/>
                <a:ea typeface="+mj-ea"/>
                <a:cs typeface="+mj-cs"/>
              </a:defRPr>
            </a:lvl1pPr>
          </a:lstStyle>
          <a:p>
            <a:r>
              <a:rPr lang="es-MX" dirty="0"/>
              <a:t>En resumen </a:t>
            </a:r>
            <a:r>
              <a:rPr lang="es-MX" dirty="0" smtClean="0"/>
              <a:t>ALFA genera </a:t>
            </a:r>
            <a:r>
              <a:rPr lang="es-MX" dirty="0"/>
              <a:t>un beneficio neto de </a:t>
            </a:r>
            <a:r>
              <a:rPr lang="es-MX" dirty="0" smtClean="0"/>
              <a:t>+5.5 </a:t>
            </a:r>
            <a:r>
              <a:rPr lang="es-MX" dirty="0"/>
              <a:t>Millones de reducción de </a:t>
            </a:r>
            <a:r>
              <a:rPr lang="es-MX" dirty="0" smtClean="0"/>
              <a:t>GEI</a:t>
            </a:r>
            <a:endParaRPr lang="es-MX" dirty="0"/>
          </a:p>
        </p:txBody>
      </p:sp>
      <p:sp>
        <p:nvSpPr>
          <p:cNvPr id="40" name="Slide Number Placeholder 2"/>
          <p:cNvSpPr txBox="1">
            <a:spLocks/>
          </p:cNvSpPr>
          <p:nvPr/>
        </p:nvSpPr>
        <p:spPr>
          <a:xfrm>
            <a:off x="8354490" y="6371620"/>
            <a:ext cx="586310" cy="36512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 smtClean="0"/>
              <a:t>6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37"/>
          <a:stretch/>
        </p:blipFill>
        <p:spPr>
          <a:xfrm>
            <a:off x="4020196" y="2401628"/>
            <a:ext cx="1463344" cy="871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94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45706" y="2923456"/>
            <a:ext cx="6048672" cy="648072"/>
          </a:xfrm>
        </p:spPr>
        <p:txBody>
          <a:bodyPr/>
          <a:lstStyle/>
          <a:p>
            <a:r>
              <a:rPr lang="es-MX" dirty="0" smtClean="0"/>
              <a:t>Gas y </a:t>
            </a:r>
            <a:r>
              <a:rPr lang="es-MX" dirty="0" err="1" smtClean="0"/>
              <a:t>Shale</a:t>
            </a:r>
            <a:endParaRPr lang="es-MX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93C0D95-9F8C-4642-8674-4A4C3D9E636D}" type="slidenum">
              <a:rPr lang="es-MX" smtClean="0"/>
              <a:pPr/>
              <a:t>7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542275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MX" dirty="0" smtClean="0"/>
              <a:t>1995 se indica potencial colapso de infraestructura y suministro de gas en México hacia inicios 2000 a pesar de importantes recursos</a:t>
            </a:r>
          </a:p>
          <a:p>
            <a:r>
              <a:rPr lang="es-MX" dirty="0" smtClean="0"/>
              <a:t>2000-2005  escasez de gas en México y Norteamérica</a:t>
            </a:r>
          </a:p>
          <a:p>
            <a:r>
              <a:rPr lang="es-MX" dirty="0" smtClean="0"/>
              <a:t>Importaciones creciendo de </a:t>
            </a:r>
            <a:r>
              <a:rPr lang="es-MX" dirty="0"/>
              <a:t>gas </a:t>
            </a:r>
            <a:r>
              <a:rPr lang="es-MX" dirty="0" smtClean="0"/>
              <a:t>de EE.UU. y precios de gas más caros del planeta</a:t>
            </a:r>
          </a:p>
          <a:p>
            <a:r>
              <a:rPr lang="es-MX" dirty="0" smtClean="0"/>
              <a:t>En riesgo instalaciones productivas y empleos</a:t>
            </a:r>
          </a:p>
          <a:p>
            <a:r>
              <a:rPr lang="es-MX" dirty="0" smtClean="0"/>
              <a:t>Tecnología de yacimientos no convencionales incipiente</a:t>
            </a:r>
          </a:p>
          <a:p>
            <a:r>
              <a:rPr lang="es-MX" dirty="0" smtClean="0"/>
              <a:t>Prohibición en México de invertir en gas y petróleo para resolver </a:t>
            </a:r>
            <a:r>
              <a:rPr lang="es-MX" dirty="0" smtClean="0"/>
              <a:t>problemática</a:t>
            </a:r>
          </a:p>
          <a:p>
            <a:r>
              <a:rPr lang="es-MX" dirty="0" smtClean="0"/>
              <a:t>2014-2015 Reforma Energética</a:t>
            </a:r>
            <a:endParaRPr lang="es-MX" dirty="0" smtClean="0"/>
          </a:p>
          <a:p>
            <a:endParaRPr lang="es-MX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s-MX" b="1" dirty="0" smtClean="0">
                <a:solidFill>
                  <a:srgbClr val="5780AE"/>
                </a:solidFill>
              </a:rPr>
              <a:t>Gas (De donde venimos)</a:t>
            </a:r>
            <a:r>
              <a:rPr lang="es-MX" b="1" dirty="0">
                <a:solidFill>
                  <a:srgbClr val="5780AE"/>
                </a:solidFill>
              </a:rPr>
              <a:t/>
            </a:r>
            <a:br>
              <a:rPr lang="es-MX" b="1" dirty="0">
                <a:solidFill>
                  <a:srgbClr val="5780AE"/>
                </a:solidFill>
              </a:rPr>
            </a:br>
            <a:r>
              <a:rPr lang="es-MX" b="1" dirty="0">
                <a:solidFill>
                  <a:srgbClr val="5780AE"/>
                </a:solidFill>
              </a:rPr>
              <a:t>- Problemática / Retos</a:t>
            </a:r>
          </a:p>
        </p:txBody>
      </p:sp>
      <p:sp>
        <p:nvSpPr>
          <p:cNvPr id="6" name="Slide Number Placeholder 2"/>
          <p:cNvSpPr txBox="1">
            <a:spLocks/>
          </p:cNvSpPr>
          <p:nvPr/>
        </p:nvSpPr>
        <p:spPr>
          <a:xfrm>
            <a:off x="8100490" y="6356350"/>
            <a:ext cx="586310" cy="36512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303422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>
            <a:spLocks noGrp="1"/>
          </p:cNvSpPr>
          <p:nvPr>
            <p:ph type="title"/>
          </p:nvPr>
        </p:nvSpPr>
        <p:spPr>
          <a:xfrm>
            <a:off x="489336" y="165456"/>
            <a:ext cx="8229600" cy="705812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l"/>
            <a:r>
              <a:rPr lang="es-MX" sz="2400" b="1" dirty="0" smtClean="0">
                <a:solidFill>
                  <a:srgbClr val="5780AE"/>
                </a:solidFill>
              </a:rPr>
              <a:t>Eagle Ford </a:t>
            </a:r>
            <a:r>
              <a:rPr lang="es-MX" sz="2400" b="1" dirty="0" err="1" smtClean="0">
                <a:solidFill>
                  <a:srgbClr val="5780AE"/>
                </a:solidFill>
              </a:rPr>
              <a:t>Shale</a:t>
            </a:r>
            <a:r>
              <a:rPr lang="es-MX" sz="2400" b="1" dirty="0" smtClean="0">
                <a:solidFill>
                  <a:srgbClr val="5780AE"/>
                </a:solidFill>
              </a:rPr>
              <a:t>, ejemplo importante de desarrollo sustentable regional.</a:t>
            </a:r>
            <a:endParaRPr lang="es-MX" sz="2400" b="1" dirty="0">
              <a:solidFill>
                <a:srgbClr val="5780AE"/>
              </a:solidFill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8302" y="4874365"/>
            <a:ext cx="1917430" cy="1614678"/>
          </a:xfrm>
        </p:spPr>
      </p:pic>
      <p:sp>
        <p:nvSpPr>
          <p:cNvPr id="8" name="TextBox 7"/>
          <p:cNvSpPr txBox="1"/>
          <p:nvPr/>
        </p:nvSpPr>
        <p:spPr>
          <a:xfrm>
            <a:off x="448405" y="1509536"/>
            <a:ext cx="827053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es-MX" dirty="0" smtClean="0">
                <a:latin typeface="Arial" panose="020B0604020202020204" pitchFamily="34" charset="0"/>
                <a:cs typeface="Arial" panose="020B0604020202020204" pitchFamily="34" charset="0"/>
              </a:rPr>
              <a:t>Beneficios importantes para la comunidad respetando el medio ambiente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es-MX" dirty="0" smtClean="0">
                <a:latin typeface="Arial" panose="020B0604020202020204" pitchFamily="34" charset="0"/>
                <a:cs typeface="Arial" panose="020B0604020202020204" pitchFamily="34" charset="0"/>
              </a:rPr>
              <a:t>+20,000 millones de dólares / año de inversión “</a:t>
            </a:r>
            <a:r>
              <a:rPr lang="es-MX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pstream</a:t>
            </a:r>
            <a:r>
              <a:rPr lang="es-MX" dirty="0" smtClean="0">
                <a:latin typeface="Arial" panose="020B0604020202020204" pitchFamily="34" charset="0"/>
                <a:cs typeface="Arial" panose="020B0604020202020204" pitchFamily="34" charset="0"/>
              </a:rPr>
              <a:t>”. 50% sueldos y salarios / 50% equipo y materiales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es-MX" dirty="0" smtClean="0">
                <a:latin typeface="Arial" panose="020B0604020202020204" pitchFamily="34" charset="0"/>
                <a:cs typeface="Arial" panose="020B0604020202020204" pitchFamily="34" charset="0"/>
              </a:rPr>
              <a:t>Estado y +14 condados beneficiados. Desarrollo regional. Incremento en PIB per cápita en condados beneficiados a 120,000 </a:t>
            </a:r>
            <a:r>
              <a:rPr lang="es-MX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ls</a:t>
            </a:r>
            <a:r>
              <a:rPr lang="es-MX" dirty="0" smtClean="0">
                <a:latin typeface="Arial" panose="020B0604020202020204" pitchFamily="34" charset="0"/>
                <a:cs typeface="Arial" panose="020B0604020202020204" pitchFamily="34" charset="0"/>
              </a:rPr>
              <a:t>/año.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es-MX" dirty="0" smtClean="0">
                <a:latin typeface="Arial" panose="020B0604020202020204" pitchFamily="34" charset="0"/>
                <a:cs typeface="Arial" panose="020B0604020202020204" pitchFamily="34" charset="0"/>
              </a:rPr>
              <a:t>Importante efecto multiplicador en cadenas productivas suministradoras y derivadas de manufacturas y servicios.</a:t>
            </a:r>
          </a:p>
        </p:txBody>
      </p:sp>
      <p:pic>
        <p:nvPicPr>
          <p:cNvPr id="10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010" y="4873863"/>
            <a:ext cx="1917430" cy="1614678"/>
          </a:xfrm>
        </p:spPr>
      </p:pic>
      <p:sp>
        <p:nvSpPr>
          <p:cNvPr id="12" name="TextBox 11"/>
          <p:cNvSpPr txBox="1"/>
          <p:nvPr/>
        </p:nvSpPr>
        <p:spPr>
          <a:xfrm>
            <a:off x="1750745" y="4169615"/>
            <a:ext cx="159530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u="sng" dirty="0" smtClean="0"/>
              <a:t>2008</a:t>
            </a:r>
          </a:p>
          <a:p>
            <a:pPr algn="ctr"/>
            <a:r>
              <a:rPr lang="es-MX" b="1" dirty="0" smtClean="0"/>
              <a:t>56 permisos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736683" y="4228034"/>
            <a:ext cx="185178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u="sng" dirty="0" smtClean="0"/>
              <a:t>2013</a:t>
            </a:r>
          </a:p>
          <a:p>
            <a:pPr algn="ctr"/>
            <a:r>
              <a:rPr lang="es-MX" b="1" dirty="0" smtClean="0"/>
              <a:t>4,416 permisos</a:t>
            </a:r>
          </a:p>
        </p:txBody>
      </p:sp>
      <p:sp>
        <p:nvSpPr>
          <p:cNvPr id="14" name="Right Arrow 13"/>
          <p:cNvSpPr/>
          <p:nvPr/>
        </p:nvSpPr>
        <p:spPr>
          <a:xfrm>
            <a:off x="4358069" y="5282113"/>
            <a:ext cx="648090" cy="49905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5" name="TextBox 14"/>
          <p:cNvSpPr txBox="1"/>
          <p:nvPr/>
        </p:nvSpPr>
        <p:spPr>
          <a:xfrm>
            <a:off x="2668617" y="3777143"/>
            <a:ext cx="3672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u="sng" dirty="0" smtClean="0"/>
              <a:t>Proyectos de </a:t>
            </a:r>
            <a:r>
              <a:rPr lang="es-MX" b="1" u="sng" dirty="0" err="1" smtClean="0"/>
              <a:t>shales</a:t>
            </a:r>
            <a:r>
              <a:rPr lang="es-MX" b="1" u="sng" dirty="0" smtClean="0"/>
              <a:t> en Texas</a:t>
            </a:r>
            <a:endParaRPr lang="es-MX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2501100" y="5824434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548400" y="5882244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00800" y="5801294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057500" y="5679854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590863" y="5894217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590863" y="5954599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706003" y="5893657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706003" y="5911999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821222" y="5747314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508344" y="5832636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662873" y="5893657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776452" y="5832636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652364" y="5832636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580354" y="5796286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518853" y="5893657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867922" y="5727060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724374" y="5829326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830276" y="5835664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607057" y="5842313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562288" y="5858016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624730" y="5928550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77932" y="5681391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541431" y="5927524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768251" y="5871211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767471" y="5810490"/>
            <a:ext cx="2359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dirty="0" smtClean="0">
                <a:solidFill>
                  <a:srgbClr val="FF0000"/>
                </a:solidFill>
                <a:latin typeface="+mj-lt"/>
              </a:rPr>
              <a:t>.</a:t>
            </a:r>
            <a:endParaRPr lang="es-MX" sz="1600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42" name="Slide Number Placeholder 2"/>
          <p:cNvSpPr txBox="1">
            <a:spLocks/>
          </p:cNvSpPr>
          <p:nvPr/>
        </p:nvSpPr>
        <p:spPr>
          <a:xfrm>
            <a:off x="8425662" y="6305978"/>
            <a:ext cx="586310" cy="365125"/>
          </a:xfrm>
          <a:prstGeom prst="rect">
            <a:avLst/>
          </a:prstGeom>
        </p:spPr>
        <p:txBody>
          <a:bodyPr/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 smtClean="0"/>
              <a:t>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946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KPA1wsFkK6OZ3oGGjrj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KPA1wsFkK6OZ3oGGjr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KPA1wsFkK6OZ3oGGjr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jhxqMuiECDfDayYmOE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oxZCGdlUSPjRi8kVQS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IoCwqR6kecDZCm8AWZ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jTg.jUr0Sf.mRli1rH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7PSwwCM02UHb4hTSdO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1hnabN0qIB1EXLQ65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2kF2iv0EOzUuwjHVSM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KPA1wsFkK6OZ3oGGjr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jhxqMuiECDfDayYmOE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oxZCGdlUSPjRi8kVQS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IoCwqR6kecDZCm8AWZ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jTg.jUr0Sf.mRli1rH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7PSwwCM02UHb4hTSdO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1hnabN0qIB1EXLQ65w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2kF2iv0EOzUuwjHVSMC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lank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44061"/>
      </a:accent1>
      <a:accent2>
        <a:srgbClr val="548DD4"/>
      </a:accent2>
      <a:accent3>
        <a:srgbClr val="B8CCE4"/>
      </a:accent3>
      <a:accent4>
        <a:srgbClr val="000000"/>
      </a:accent4>
      <a:accent5>
        <a:srgbClr val="7F7F7F"/>
      </a:accent5>
      <a:accent6>
        <a:srgbClr val="D8D8D8"/>
      </a:accent6>
      <a:hlink>
        <a:srgbClr val="1F497D"/>
      </a:hlink>
      <a:folHlink>
        <a:srgbClr val="1F497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blank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44061"/>
      </a:accent1>
      <a:accent2>
        <a:srgbClr val="548DD4"/>
      </a:accent2>
      <a:accent3>
        <a:srgbClr val="B8CCE4"/>
      </a:accent3>
      <a:accent4>
        <a:srgbClr val="000000"/>
      </a:accent4>
      <a:accent5>
        <a:srgbClr val="7F7F7F"/>
      </a:accent5>
      <a:accent6>
        <a:srgbClr val="D8D8D8"/>
      </a:accent6>
      <a:hlink>
        <a:srgbClr val="1F497D"/>
      </a:hlink>
      <a:folHlink>
        <a:srgbClr val="1F497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A4384E439BB448BA8C1C17972FFD45" ma:contentTypeVersion="2" ma:contentTypeDescription="Create a new document." ma:contentTypeScope="" ma:versionID="18c0953b53c3404795254d0d49464440">
  <xsd:schema xmlns:xsd="http://www.w3.org/2001/XMLSchema" xmlns:p="http://schemas.microsoft.com/office/2006/metadata/properties" xmlns:ns1="http://schemas.microsoft.com/sharepoint/v3" targetNamespace="http://schemas.microsoft.com/office/2006/metadata/properties" ma:root="true" ma:fieldsID="ea9661fe7ef35e8e27df71b8475afb61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9908D5-E0CF-4383-97C3-3CDB2A706A0E}">
  <ds:schemaRefs>
    <ds:schemaRef ds:uri="http://www.w3.org/XML/1998/namespace"/>
    <ds:schemaRef ds:uri="http://schemas.microsoft.com/sharepoint/v3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853273F-A079-46AA-9543-4F79EC6201F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DDA67552-7439-46F2-9B2A-E93D86C112C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12</TotalTime>
  <Words>2054</Words>
  <Application>Microsoft Office PowerPoint</Application>
  <PresentationFormat>On-screen Show (4:3)</PresentationFormat>
  <Paragraphs>395</Paragraphs>
  <Slides>3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6" baseType="lpstr">
      <vt:lpstr>Arial</vt:lpstr>
      <vt:lpstr>Arial Narrow</vt:lpstr>
      <vt:lpstr>Calibri</vt:lpstr>
      <vt:lpstr>Wingdings</vt:lpstr>
      <vt:lpstr>Office Theme</vt:lpstr>
      <vt:lpstr>Custom Design</vt:lpstr>
      <vt:lpstr>blank</vt:lpstr>
      <vt:lpstr>1_blank</vt:lpstr>
      <vt:lpstr>think-cell Slide</vt:lpstr>
      <vt:lpstr>PowerPoint Presentation</vt:lpstr>
      <vt:lpstr>ALFA: Empresa mexicana líder</vt:lpstr>
      <vt:lpstr>ALFA visualiza cuatro grandes retos en Sustentabilidad</vt:lpstr>
      <vt:lpstr>ALFA ha reducido sus emisiones de GEI* en 34%, aún aumentando su producción en 75% vía productividad energética e innovación</vt:lpstr>
      <vt:lpstr>ALFA tiene un Compromiso de Responsabilidad Social y Ambiental. A manera ilustrativa:</vt:lpstr>
      <vt:lpstr>PowerPoint Presentation</vt:lpstr>
      <vt:lpstr>Gas y Shale</vt:lpstr>
      <vt:lpstr>Gas (De donde venimos) - Problemática / Retos</vt:lpstr>
      <vt:lpstr>Eagle Ford Shale, ejemplo importante de desarrollo sustentable regional.</vt:lpstr>
      <vt:lpstr>México requiere más energía para crecer </vt:lpstr>
      <vt:lpstr>Revolución energética en Norteamérica   </vt:lpstr>
      <vt:lpstr>México es el sexto lugar en reservas de gas shale </vt:lpstr>
      <vt:lpstr>Gas natural combustible más limpio para apoyar reducción de emisiones</vt:lpstr>
      <vt:lpstr>Con Reforma Energética ALFA se enfocará en maximizar oportunidades en cadenas de valor</vt:lpstr>
      <vt:lpstr>Preguntas frecuentes sobre shales</vt:lpstr>
      <vt:lpstr>Perforación y cuidado de fuentes de agua  “casing” </vt:lpstr>
      <vt:lpstr>Fluidos de fracturación: uso del agua  </vt:lpstr>
      <vt:lpstr>Fluidos de fracturación : los aditivos   </vt:lpstr>
      <vt:lpstr>En caso de Alfa, los aditivos utilizados en fracking son compuestos usados en la vida diaria</vt:lpstr>
      <vt:lpstr>¿Fracturación causa sismos?</vt:lpstr>
      <vt:lpstr>Emisiones GEI de shales están en el mismo nivel que el gas natural convencional </vt:lpstr>
      <vt:lpstr>Guía de buenas practicas en industria de shale </vt:lpstr>
      <vt:lpstr>Guía de buenas practicas en industria de shale </vt:lpstr>
      <vt:lpstr>PowerPoint Presentation</vt:lpstr>
      <vt:lpstr>PowerPoint Presentation</vt:lpstr>
      <vt:lpstr>PowerPoint Presentation</vt:lpstr>
      <vt:lpstr>Factores clave para la industria en el sector </vt:lpstr>
      <vt:lpstr>Otras innovaciones de ALFA y proyectos para el desarrollo sustentable</vt:lpstr>
      <vt:lpstr>Innovación continua en ALFA para impulsar el desarrollo sustentable</vt:lpstr>
      <vt:lpstr>Innovación en ALFA continua promoviendo el desarrollo sustentable</vt:lpstr>
      <vt:lpstr>Nuevas tecnologías para desarrollo de reservas no convencionales de agua subterránea renovable para:  - Consumo Humano - Agricultura - Energía</vt:lpstr>
      <vt:lpstr>TEGRA con tecnología para descubrir reservas de agua renovable sin afectar acuíferos convencionales para sector energético Pozos de agua en Texas (Eagle Ford,Wolfcamp/Permian), Kansas (Mississipi lime) y Dakota del Norte (Bakken)</vt:lpstr>
      <vt:lpstr>Así como para consumo humano y agrícola en diversas regiones (selváticas, desérticas, montañosas e islas)</vt:lpstr>
      <vt:lpstr>Existe un gran potencial de Agua Nueva de Megacuencas subterránea que puede desarrollarse con el apoyo de esta tecnología en condiciones competitivas</vt:lpstr>
      <vt:lpstr>Conclusiones</vt:lpstr>
      <vt:lpstr>Conclusiones</vt:lpstr>
      <vt:lpstr>Beneficios adicionales Proyecto SIGMA por sustitución y mejora genética de ganado lechero con pequeñas ganader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delgado</dc:creator>
  <cp:lastModifiedBy>Galvan Gonzalez, Gerardo</cp:lastModifiedBy>
  <cp:revision>312</cp:revision>
  <cp:lastPrinted>2015-01-26T17:05:08Z</cp:lastPrinted>
  <dcterms:created xsi:type="dcterms:W3CDTF">2012-01-05T18:27:16Z</dcterms:created>
  <dcterms:modified xsi:type="dcterms:W3CDTF">2015-04-22T14:32:36Z</dcterms:modified>
</cp:coreProperties>
</file>